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694" r:id="rId6"/>
    <p:sldMasterId id="2147483707" r:id="rId7"/>
    <p:sldMasterId id="2147483720" r:id="rId8"/>
  </p:sldMasterIdLst>
  <p:notesMasterIdLst>
    <p:notesMasterId r:id="rId10"/>
  </p:notesMasterIdLst>
  <p:sldIdLst>
    <p:sldId id="838839725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oadley, Alan" initials="BA" lastIdx="17" clrIdx="0">
    <p:extLst>
      <p:ext uri="{19B8F6BF-5375-455C-9EA6-DF929625EA0E}">
        <p15:presenceInfo xmlns:p15="http://schemas.microsoft.com/office/powerpoint/2012/main" userId="S::alan.broadley@accenture.com::4f9c7bda-a747-4bb0-88f9-5d3637e78bd8" providerId="AD"/>
      </p:ext>
    </p:extLst>
  </p:cmAuthor>
  <p:cmAuthor id="2" name="Damani" initials="D" lastIdx="1" clrIdx="1">
    <p:extLst>
      <p:ext uri="{19B8F6BF-5375-455C-9EA6-DF929625EA0E}">
        <p15:presenceInfo xmlns:p15="http://schemas.microsoft.com/office/powerpoint/2012/main" userId="S::damani.bishnoi@accenture.com::671a253f-eef0-4770-a512-0c2fc41803b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7EE"/>
    <a:srgbClr val="CBCCDB"/>
    <a:srgbClr val="FFB45A"/>
    <a:srgbClr val="00B050"/>
    <a:srgbClr val="FA4616"/>
    <a:srgbClr val="92D050"/>
    <a:srgbClr val="00BEB4"/>
    <a:srgbClr val="AAAAAC"/>
    <a:srgbClr val="F137E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CC29CD-BFFA-4A0A-989A-E5E2CDB89493}" type="datetimeFigureOut">
              <a:rPr lang="en-GB" smtClean="0"/>
              <a:t>01/12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8E6B44-AACF-493F-A1FB-DD32886D02C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02514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Mi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D354C2-15FD-4E1E-8BA8-6D566F01001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99467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8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8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8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emf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0336432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524294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250299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016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77A65F-60F3-496B-BBCE-2421FA220A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37828E-4664-44BE-BFC2-AB526610B9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9FEFEA-B2CE-4368-AF45-22B40C8E84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C0571-EA79-4455-9BBE-EF5FAEC83F06}" type="datetimeFigureOut">
              <a:rPr lang="en-GB" smtClean="0"/>
              <a:t>01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B939C4-0221-41EF-AA36-9BBD05EA41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0A8723-3882-4D28-83FB-FAB7A6A5A7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D2AFD5-B35B-4744-B637-D7CDBD6DBE3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74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BC8C29B5-0459-44E2-893D-68F8D6DE684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7200" b="0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pic>
        <p:nvPicPr>
          <p:cNvPr id="10" name="Picture 2" descr="A picture containing sky, outdoor, water sport, swimming&#10;&#10;Description automatically generated">
            <a:extLst>
              <a:ext uri="{FF2B5EF4-FFF2-40B4-BE49-F238E27FC236}">
                <a16:creationId xmlns:a16="http://schemas.microsoft.com/office/drawing/2014/main" id="{68EADA17-8BD7-4AD0-94C2-B3D8B34FFD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836" y="-1"/>
            <a:ext cx="12203836" cy="6858001"/>
          </a:xfrm>
          <a:prstGeom prst="rect">
            <a:avLst/>
          </a:prstGeom>
        </p:spPr>
      </p:pic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81001" y="5216095"/>
            <a:ext cx="3630930" cy="1041195"/>
          </a:xfrm>
        </p:spPr>
        <p:txBody>
          <a:bodyPr anchor="b"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2000" b="0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LIN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381001" y="1798322"/>
            <a:ext cx="5751674" cy="3261358"/>
          </a:xfrm>
        </p:spPr>
        <p:txBody>
          <a:bodyPr lIns="0" tIns="0" rIns="0" bIns="0" anchor="ctr"/>
          <a:lstStyle>
            <a:lvl1pPr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 sz="7200" spc="-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is is a</a:t>
            </a:r>
            <a:br>
              <a:rPr lang="en-US"/>
            </a:br>
            <a:r>
              <a:rPr lang="en-US"/>
              <a:t>Headline</a:t>
            </a:r>
            <a:br>
              <a:rPr lang="en-US"/>
            </a:br>
            <a:r>
              <a:rPr lang="en-US"/>
              <a:t>This is a Subhead</a:t>
            </a:r>
            <a:endParaRPr lang="en-AU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B5B98C87-D6DD-4595-B803-BF96BBC33CC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813155" y="381000"/>
            <a:ext cx="2006425" cy="528825"/>
            <a:chOff x="217" y="3941"/>
            <a:chExt cx="645" cy="170"/>
          </a:xfrm>
          <a:solidFill>
            <a:schemeClr val="bg1"/>
          </a:solidFill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6E3F49AE-1B53-455E-8566-60AA2FC40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3" y="3941"/>
              <a:ext cx="63" cy="67"/>
            </a:xfrm>
            <a:custGeom>
              <a:avLst/>
              <a:gdLst>
                <a:gd name="T0" fmla="*/ 0 w 382"/>
                <a:gd name="T1" fmla="*/ 0 h 405"/>
                <a:gd name="T2" fmla="*/ 0 w 382"/>
                <a:gd name="T3" fmla="*/ 0 h 405"/>
                <a:gd name="T4" fmla="*/ 382 w 382"/>
                <a:gd name="T5" fmla="*/ 155 h 405"/>
                <a:gd name="T6" fmla="*/ 382 w 382"/>
                <a:gd name="T7" fmla="*/ 251 h 405"/>
                <a:gd name="T8" fmla="*/ 0 w 382"/>
                <a:gd name="T9" fmla="*/ 405 h 405"/>
                <a:gd name="T10" fmla="*/ 0 w 382"/>
                <a:gd name="T11" fmla="*/ 286 h 405"/>
                <a:gd name="T12" fmla="*/ 223 w 382"/>
                <a:gd name="T13" fmla="*/ 203 h 405"/>
                <a:gd name="T14" fmla="*/ 0 w 382"/>
                <a:gd name="T15" fmla="*/ 116 h 405"/>
                <a:gd name="T16" fmla="*/ 0 w 382"/>
                <a:gd name="T17" fmla="*/ 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405">
                  <a:moveTo>
                    <a:pt x="0" y="0"/>
                  </a:moveTo>
                  <a:lnTo>
                    <a:pt x="0" y="0"/>
                  </a:lnTo>
                  <a:lnTo>
                    <a:pt x="382" y="155"/>
                  </a:lnTo>
                  <a:lnTo>
                    <a:pt x="382" y="251"/>
                  </a:lnTo>
                  <a:lnTo>
                    <a:pt x="0" y="405"/>
                  </a:lnTo>
                  <a:lnTo>
                    <a:pt x="0" y="286"/>
                  </a:lnTo>
                  <a:lnTo>
                    <a:pt x="223" y="203"/>
                  </a:lnTo>
                  <a:lnTo>
                    <a:pt x="0" y="1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AB6B5F75-01DA-4901-AD9D-7C6B0F3B9C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7" y="4012"/>
              <a:ext cx="645" cy="99"/>
            </a:xfrm>
            <a:custGeom>
              <a:avLst/>
              <a:gdLst>
                <a:gd name="T0" fmla="*/ 125 w 3869"/>
                <a:gd name="T1" fmla="*/ 467 h 592"/>
                <a:gd name="T2" fmla="*/ 247 w 3869"/>
                <a:gd name="T3" fmla="*/ 481 h 592"/>
                <a:gd name="T4" fmla="*/ 3618 w 3869"/>
                <a:gd name="T5" fmla="*/ 227 h 592"/>
                <a:gd name="T6" fmla="*/ 3718 w 3869"/>
                <a:gd name="T7" fmla="*/ 230 h 592"/>
                <a:gd name="T8" fmla="*/ 1532 w 3869"/>
                <a:gd name="T9" fmla="*/ 257 h 592"/>
                <a:gd name="T10" fmla="*/ 1622 w 3869"/>
                <a:gd name="T11" fmla="*/ 215 h 592"/>
                <a:gd name="T12" fmla="*/ 2841 w 3869"/>
                <a:gd name="T13" fmla="*/ 492 h 592"/>
                <a:gd name="T14" fmla="*/ 2940 w 3869"/>
                <a:gd name="T15" fmla="*/ 135 h 592"/>
                <a:gd name="T16" fmla="*/ 2861 w 3869"/>
                <a:gd name="T17" fmla="*/ 584 h 592"/>
                <a:gd name="T18" fmla="*/ 2679 w 3869"/>
                <a:gd name="T19" fmla="*/ 500 h 592"/>
                <a:gd name="T20" fmla="*/ 3314 w 3869"/>
                <a:gd name="T21" fmla="*/ 275 h 592"/>
                <a:gd name="T22" fmla="*/ 3279 w 3869"/>
                <a:gd name="T23" fmla="*/ 217 h 592"/>
                <a:gd name="T24" fmla="*/ 3723 w 3869"/>
                <a:gd name="T25" fmla="*/ 132 h 592"/>
                <a:gd name="T26" fmla="*/ 3869 w 3869"/>
                <a:gd name="T27" fmla="*/ 336 h 592"/>
                <a:gd name="T28" fmla="*/ 3652 w 3869"/>
                <a:gd name="T29" fmla="*/ 500 h 592"/>
                <a:gd name="T30" fmla="*/ 3862 w 3869"/>
                <a:gd name="T31" fmla="*/ 470 h 592"/>
                <a:gd name="T32" fmla="*/ 3635 w 3869"/>
                <a:gd name="T33" fmla="*/ 590 h 592"/>
                <a:gd name="T34" fmla="*/ 3454 w 3869"/>
                <a:gd name="T35" fmla="*/ 404 h 592"/>
                <a:gd name="T36" fmla="*/ 3548 w 3869"/>
                <a:gd name="T37" fmla="*/ 158 h 592"/>
                <a:gd name="T38" fmla="*/ 2230 w 3869"/>
                <a:gd name="T39" fmla="*/ 156 h 592"/>
                <a:gd name="T40" fmla="*/ 2150 w 3869"/>
                <a:gd name="T41" fmla="*/ 278 h 592"/>
                <a:gd name="T42" fmla="*/ 2024 w 3869"/>
                <a:gd name="T43" fmla="*/ 253 h 592"/>
                <a:gd name="T44" fmla="*/ 2017 w 3869"/>
                <a:gd name="T45" fmla="*/ 185 h 592"/>
                <a:gd name="T46" fmla="*/ 1659 w 3869"/>
                <a:gd name="T47" fmla="*/ 132 h 592"/>
                <a:gd name="T48" fmla="*/ 1805 w 3869"/>
                <a:gd name="T49" fmla="*/ 336 h 592"/>
                <a:gd name="T50" fmla="*/ 1588 w 3869"/>
                <a:gd name="T51" fmla="*/ 500 h 592"/>
                <a:gd name="T52" fmla="*/ 1798 w 3869"/>
                <a:gd name="T53" fmla="*/ 470 h 592"/>
                <a:gd name="T54" fmla="*/ 1572 w 3869"/>
                <a:gd name="T55" fmla="*/ 590 h 592"/>
                <a:gd name="T56" fmla="*/ 1390 w 3869"/>
                <a:gd name="T57" fmla="*/ 404 h 592"/>
                <a:gd name="T58" fmla="*/ 1485 w 3869"/>
                <a:gd name="T59" fmla="*/ 158 h 592"/>
                <a:gd name="T60" fmla="*/ 1248 w 3869"/>
                <a:gd name="T61" fmla="*/ 152 h 592"/>
                <a:gd name="T62" fmla="*/ 1202 w 3869"/>
                <a:gd name="T63" fmla="*/ 256 h 592"/>
                <a:gd name="T64" fmla="*/ 1066 w 3869"/>
                <a:gd name="T65" fmla="*/ 272 h 592"/>
                <a:gd name="T66" fmla="*/ 1087 w 3869"/>
                <a:gd name="T67" fmla="*/ 480 h 592"/>
                <a:gd name="T68" fmla="*/ 1223 w 3869"/>
                <a:gd name="T69" fmla="*/ 417 h 592"/>
                <a:gd name="T70" fmla="*/ 1176 w 3869"/>
                <a:gd name="T71" fmla="*/ 588 h 592"/>
                <a:gd name="T72" fmla="*/ 944 w 3869"/>
                <a:gd name="T73" fmla="*/ 470 h 592"/>
                <a:gd name="T74" fmla="*/ 977 w 3869"/>
                <a:gd name="T75" fmla="*/ 196 h 592"/>
                <a:gd name="T76" fmla="*/ 733 w 3869"/>
                <a:gd name="T77" fmla="*/ 132 h 592"/>
                <a:gd name="T78" fmla="*/ 751 w 3869"/>
                <a:gd name="T79" fmla="*/ 295 h 592"/>
                <a:gd name="T80" fmla="*/ 626 w 3869"/>
                <a:gd name="T81" fmla="*/ 240 h 592"/>
                <a:gd name="T82" fmla="*/ 601 w 3869"/>
                <a:gd name="T83" fmla="*/ 448 h 592"/>
                <a:gd name="T84" fmla="*/ 745 w 3869"/>
                <a:gd name="T85" fmla="*/ 460 h 592"/>
                <a:gd name="T86" fmla="*/ 776 w 3869"/>
                <a:gd name="T87" fmla="*/ 570 h 592"/>
                <a:gd name="T88" fmla="*/ 510 w 3869"/>
                <a:gd name="T89" fmla="*/ 524 h 592"/>
                <a:gd name="T90" fmla="*/ 480 w 3869"/>
                <a:gd name="T91" fmla="*/ 250 h 592"/>
                <a:gd name="T92" fmla="*/ 206 w 3869"/>
                <a:gd name="T93" fmla="*/ 126 h 592"/>
                <a:gd name="T94" fmla="*/ 389 w 3869"/>
                <a:gd name="T95" fmla="*/ 252 h 592"/>
                <a:gd name="T96" fmla="*/ 176 w 3869"/>
                <a:gd name="T97" fmla="*/ 590 h 592"/>
                <a:gd name="T98" fmla="*/ 2 w 3869"/>
                <a:gd name="T99" fmla="*/ 488 h 592"/>
                <a:gd name="T100" fmla="*/ 97 w 3869"/>
                <a:gd name="T101" fmla="*/ 325 h 592"/>
                <a:gd name="T102" fmla="*/ 251 w 3869"/>
                <a:gd name="T103" fmla="*/ 235 h 592"/>
                <a:gd name="T104" fmla="*/ 133 w 3869"/>
                <a:gd name="T105" fmla="*/ 273 h 592"/>
                <a:gd name="T106" fmla="*/ 172 w 3869"/>
                <a:gd name="T107" fmla="*/ 127 h 592"/>
                <a:gd name="T108" fmla="*/ 2517 w 3869"/>
                <a:gd name="T109" fmla="*/ 472 h 592"/>
                <a:gd name="T110" fmla="*/ 2555 w 3869"/>
                <a:gd name="T111" fmla="*/ 587 h 592"/>
                <a:gd name="T112" fmla="*/ 2383 w 3869"/>
                <a:gd name="T113" fmla="*/ 453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69" h="592">
                  <a:moveTo>
                    <a:pt x="217" y="390"/>
                  </a:moveTo>
                  <a:lnTo>
                    <a:pt x="189" y="393"/>
                  </a:lnTo>
                  <a:lnTo>
                    <a:pt x="165" y="397"/>
                  </a:lnTo>
                  <a:lnTo>
                    <a:pt x="147" y="404"/>
                  </a:lnTo>
                  <a:lnTo>
                    <a:pt x="134" y="415"/>
                  </a:lnTo>
                  <a:lnTo>
                    <a:pt x="126" y="430"/>
                  </a:lnTo>
                  <a:lnTo>
                    <a:pt x="124" y="448"/>
                  </a:lnTo>
                  <a:lnTo>
                    <a:pt x="124" y="453"/>
                  </a:lnTo>
                  <a:lnTo>
                    <a:pt x="125" y="467"/>
                  </a:lnTo>
                  <a:lnTo>
                    <a:pt x="130" y="480"/>
                  </a:lnTo>
                  <a:lnTo>
                    <a:pt x="138" y="489"/>
                  </a:lnTo>
                  <a:lnTo>
                    <a:pt x="150" y="498"/>
                  </a:lnTo>
                  <a:lnTo>
                    <a:pt x="165" y="502"/>
                  </a:lnTo>
                  <a:lnTo>
                    <a:pt x="184" y="505"/>
                  </a:lnTo>
                  <a:lnTo>
                    <a:pt x="203" y="504"/>
                  </a:lnTo>
                  <a:lnTo>
                    <a:pt x="219" y="499"/>
                  </a:lnTo>
                  <a:lnTo>
                    <a:pt x="234" y="492"/>
                  </a:lnTo>
                  <a:lnTo>
                    <a:pt x="247" y="481"/>
                  </a:lnTo>
                  <a:lnTo>
                    <a:pt x="258" y="468"/>
                  </a:lnTo>
                  <a:lnTo>
                    <a:pt x="264" y="453"/>
                  </a:lnTo>
                  <a:lnTo>
                    <a:pt x="266" y="434"/>
                  </a:lnTo>
                  <a:lnTo>
                    <a:pt x="266" y="390"/>
                  </a:lnTo>
                  <a:lnTo>
                    <a:pt x="217" y="390"/>
                  </a:lnTo>
                  <a:close/>
                  <a:moveTo>
                    <a:pt x="3665" y="213"/>
                  </a:moveTo>
                  <a:lnTo>
                    <a:pt x="3649" y="215"/>
                  </a:lnTo>
                  <a:lnTo>
                    <a:pt x="3634" y="219"/>
                  </a:lnTo>
                  <a:lnTo>
                    <a:pt x="3618" y="227"/>
                  </a:lnTo>
                  <a:lnTo>
                    <a:pt x="3605" y="239"/>
                  </a:lnTo>
                  <a:lnTo>
                    <a:pt x="3595" y="257"/>
                  </a:lnTo>
                  <a:lnTo>
                    <a:pt x="3586" y="279"/>
                  </a:lnTo>
                  <a:lnTo>
                    <a:pt x="3580" y="307"/>
                  </a:lnTo>
                  <a:lnTo>
                    <a:pt x="3748" y="307"/>
                  </a:lnTo>
                  <a:lnTo>
                    <a:pt x="3744" y="282"/>
                  </a:lnTo>
                  <a:lnTo>
                    <a:pt x="3738" y="259"/>
                  </a:lnTo>
                  <a:lnTo>
                    <a:pt x="3730" y="243"/>
                  </a:lnTo>
                  <a:lnTo>
                    <a:pt x="3718" y="230"/>
                  </a:lnTo>
                  <a:lnTo>
                    <a:pt x="3703" y="220"/>
                  </a:lnTo>
                  <a:lnTo>
                    <a:pt x="3685" y="215"/>
                  </a:lnTo>
                  <a:lnTo>
                    <a:pt x="3665" y="213"/>
                  </a:lnTo>
                  <a:close/>
                  <a:moveTo>
                    <a:pt x="1602" y="213"/>
                  </a:moveTo>
                  <a:lnTo>
                    <a:pt x="1586" y="215"/>
                  </a:lnTo>
                  <a:lnTo>
                    <a:pt x="1569" y="219"/>
                  </a:lnTo>
                  <a:lnTo>
                    <a:pt x="1555" y="227"/>
                  </a:lnTo>
                  <a:lnTo>
                    <a:pt x="1542" y="239"/>
                  </a:lnTo>
                  <a:lnTo>
                    <a:pt x="1532" y="257"/>
                  </a:lnTo>
                  <a:lnTo>
                    <a:pt x="1522" y="279"/>
                  </a:lnTo>
                  <a:lnTo>
                    <a:pt x="1516" y="307"/>
                  </a:lnTo>
                  <a:lnTo>
                    <a:pt x="1684" y="307"/>
                  </a:lnTo>
                  <a:lnTo>
                    <a:pt x="1681" y="282"/>
                  </a:lnTo>
                  <a:lnTo>
                    <a:pt x="1675" y="259"/>
                  </a:lnTo>
                  <a:lnTo>
                    <a:pt x="1666" y="243"/>
                  </a:lnTo>
                  <a:lnTo>
                    <a:pt x="1654" y="230"/>
                  </a:lnTo>
                  <a:lnTo>
                    <a:pt x="1639" y="220"/>
                  </a:lnTo>
                  <a:lnTo>
                    <a:pt x="1622" y="215"/>
                  </a:lnTo>
                  <a:lnTo>
                    <a:pt x="1602" y="213"/>
                  </a:lnTo>
                  <a:close/>
                  <a:moveTo>
                    <a:pt x="2671" y="135"/>
                  </a:moveTo>
                  <a:lnTo>
                    <a:pt x="2796" y="135"/>
                  </a:lnTo>
                  <a:lnTo>
                    <a:pt x="2796" y="419"/>
                  </a:lnTo>
                  <a:lnTo>
                    <a:pt x="2798" y="442"/>
                  </a:lnTo>
                  <a:lnTo>
                    <a:pt x="2803" y="461"/>
                  </a:lnTo>
                  <a:lnTo>
                    <a:pt x="2811" y="476"/>
                  </a:lnTo>
                  <a:lnTo>
                    <a:pt x="2824" y="486"/>
                  </a:lnTo>
                  <a:lnTo>
                    <a:pt x="2841" y="492"/>
                  </a:lnTo>
                  <a:lnTo>
                    <a:pt x="2861" y="494"/>
                  </a:lnTo>
                  <a:lnTo>
                    <a:pt x="2878" y="493"/>
                  </a:lnTo>
                  <a:lnTo>
                    <a:pt x="2895" y="487"/>
                  </a:lnTo>
                  <a:lnTo>
                    <a:pt x="2910" y="479"/>
                  </a:lnTo>
                  <a:lnTo>
                    <a:pt x="2922" y="467"/>
                  </a:lnTo>
                  <a:lnTo>
                    <a:pt x="2931" y="452"/>
                  </a:lnTo>
                  <a:lnTo>
                    <a:pt x="2937" y="434"/>
                  </a:lnTo>
                  <a:lnTo>
                    <a:pt x="2940" y="412"/>
                  </a:lnTo>
                  <a:lnTo>
                    <a:pt x="2940" y="135"/>
                  </a:lnTo>
                  <a:lnTo>
                    <a:pt x="3064" y="135"/>
                  </a:lnTo>
                  <a:lnTo>
                    <a:pt x="3064" y="583"/>
                  </a:lnTo>
                  <a:lnTo>
                    <a:pt x="2940" y="583"/>
                  </a:lnTo>
                  <a:lnTo>
                    <a:pt x="2940" y="517"/>
                  </a:lnTo>
                  <a:lnTo>
                    <a:pt x="2929" y="534"/>
                  </a:lnTo>
                  <a:lnTo>
                    <a:pt x="2916" y="550"/>
                  </a:lnTo>
                  <a:lnTo>
                    <a:pt x="2901" y="564"/>
                  </a:lnTo>
                  <a:lnTo>
                    <a:pt x="2882" y="575"/>
                  </a:lnTo>
                  <a:lnTo>
                    <a:pt x="2861" y="584"/>
                  </a:lnTo>
                  <a:lnTo>
                    <a:pt x="2837" y="590"/>
                  </a:lnTo>
                  <a:lnTo>
                    <a:pt x="2810" y="592"/>
                  </a:lnTo>
                  <a:lnTo>
                    <a:pt x="2784" y="590"/>
                  </a:lnTo>
                  <a:lnTo>
                    <a:pt x="2759" y="584"/>
                  </a:lnTo>
                  <a:lnTo>
                    <a:pt x="2738" y="575"/>
                  </a:lnTo>
                  <a:lnTo>
                    <a:pt x="2718" y="563"/>
                  </a:lnTo>
                  <a:lnTo>
                    <a:pt x="2702" y="545"/>
                  </a:lnTo>
                  <a:lnTo>
                    <a:pt x="2689" y="525"/>
                  </a:lnTo>
                  <a:lnTo>
                    <a:pt x="2679" y="500"/>
                  </a:lnTo>
                  <a:lnTo>
                    <a:pt x="2672" y="470"/>
                  </a:lnTo>
                  <a:lnTo>
                    <a:pt x="2671" y="437"/>
                  </a:lnTo>
                  <a:lnTo>
                    <a:pt x="2671" y="135"/>
                  </a:lnTo>
                  <a:close/>
                  <a:moveTo>
                    <a:pt x="3413" y="130"/>
                  </a:moveTo>
                  <a:lnTo>
                    <a:pt x="3413" y="252"/>
                  </a:lnTo>
                  <a:lnTo>
                    <a:pt x="3383" y="253"/>
                  </a:lnTo>
                  <a:lnTo>
                    <a:pt x="3357" y="258"/>
                  </a:lnTo>
                  <a:lnTo>
                    <a:pt x="3333" y="264"/>
                  </a:lnTo>
                  <a:lnTo>
                    <a:pt x="3314" y="275"/>
                  </a:lnTo>
                  <a:lnTo>
                    <a:pt x="3299" y="288"/>
                  </a:lnTo>
                  <a:lnTo>
                    <a:pt x="3288" y="305"/>
                  </a:lnTo>
                  <a:lnTo>
                    <a:pt x="3281" y="327"/>
                  </a:lnTo>
                  <a:lnTo>
                    <a:pt x="3279" y="353"/>
                  </a:lnTo>
                  <a:lnTo>
                    <a:pt x="3279" y="583"/>
                  </a:lnTo>
                  <a:lnTo>
                    <a:pt x="3154" y="583"/>
                  </a:lnTo>
                  <a:lnTo>
                    <a:pt x="3154" y="135"/>
                  </a:lnTo>
                  <a:lnTo>
                    <a:pt x="3279" y="135"/>
                  </a:lnTo>
                  <a:lnTo>
                    <a:pt x="3279" y="217"/>
                  </a:lnTo>
                  <a:lnTo>
                    <a:pt x="3293" y="190"/>
                  </a:lnTo>
                  <a:lnTo>
                    <a:pt x="3311" y="169"/>
                  </a:lnTo>
                  <a:lnTo>
                    <a:pt x="3331" y="151"/>
                  </a:lnTo>
                  <a:lnTo>
                    <a:pt x="3354" y="139"/>
                  </a:lnTo>
                  <a:lnTo>
                    <a:pt x="3383" y="132"/>
                  </a:lnTo>
                  <a:lnTo>
                    <a:pt x="3413" y="130"/>
                  </a:lnTo>
                  <a:close/>
                  <a:moveTo>
                    <a:pt x="3664" y="126"/>
                  </a:moveTo>
                  <a:lnTo>
                    <a:pt x="3695" y="127"/>
                  </a:lnTo>
                  <a:lnTo>
                    <a:pt x="3723" y="132"/>
                  </a:lnTo>
                  <a:lnTo>
                    <a:pt x="3750" y="140"/>
                  </a:lnTo>
                  <a:lnTo>
                    <a:pt x="3775" y="152"/>
                  </a:lnTo>
                  <a:lnTo>
                    <a:pt x="3797" y="167"/>
                  </a:lnTo>
                  <a:lnTo>
                    <a:pt x="3818" y="185"/>
                  </a:lnTo>
                  <a:lnTo>
                    <a:pt x="3835" y="207"/>
                  </a:lnTo>
                  <a:lnTo>
                    <a:pt x="3849" y="233"/>
                  </a:lnTo>
                  <a:lnTo>
                    <a:pt x="3860" y="264"/>
                  </a:lnTo>
                  <a:lnTo>
                    <a:pt x="3867" y="298"/>
                  </a:lnTo>
                  <a:lnTo>
                    <a:pt x="3869" y="336"/>
                  </a:lnTo>
                  <a:lnTo>
                    <a:pt x="3869" y="390"/>
                  </a:lnTo>
                  <a:lnTo>
                    <a:pt x="3578" y="390"/>
                  </a:lnTo>
                  <a:lnTo>
                    <a:pt x="3582" y="417"/>
                  </a:lnTo>
                  <a:lnTo>
                    <a:pt x="3588" y="441"/>
                  </a:lnTo>
                  <a:lnTo>
                    <a:pt x="3596" y="460"/>
                  </a:lnTo>
                  <a:lnTo>
                    <a:pt x="3606" y="475"/>
                  </a:lnTo>
                  <a:lnTo>
                    <a:pt x="3619" y="487"/>
                  </a:lnTo>
                  <a:lnTo>
                    <a:pt x="3635" y="495"/>
                  </a:lnTo>
                  <a:lnTo>
                    <a:pt x="3652" y="500"/>
                  </a:lnTo>
                  <a:lnTo>
                    <a:pt x="3671" y="501"/>
                  </a:lnTo>
                  <a:lnTo>
                    <a:pt x="3694" y="499"/>
                  </a:lnTo>
                  <a:lnTo>
                    <a:pt x="3712" y="493"/>
                  </a:lnTo>
                  <a:lnTo>
                    <a:pt x="3728" y="485"/>
                  </a:lnTo>
                  <a:lnTo>
                    <a:pt x="3740" y="473"/>
                  </a:lnTo>
                  <a:lnTo>
                    <a:pt x="3748" y="459"/>
                  </a:lnTo>
                  <a:lnTo>
                    <a:pt x="3754" y="443"/>
                  </a:lnTo>
                  <a:lnTo>
                    <a:pt x="3869" y="443"/>
                  </a:lnTo>
                  <a:lnTo>
                    <a:pt x="3862" y="470"/>
                  </a:lnTo>
                  <a:lnTo>
                    <a:pt x="3851" y="495"/>
                  </a:lnTo>
                  <a:lnTo>
                    <a:pt x="3837" y="519"/>
                  </a:lnTo>
                  <a:lnTo>
                    <a:pt x="3818" y="540"/>
                  </a:lnTo>
                  <a:lnTo>
                    <a:pt x="3796" y="558"/>
                  </a:lnTo>
                  <a:lnTo>
                    <a:pt x="3770" y="572"/>
                  </a:lnTo>
                  <a:lnTo>
                    <a:pt x="3740" y="583"/>
                  </a:lnTo>
                  <a:lnTo>
                    <a:pt x="3707" y="590"/>
                  </a:lnTo>
                  <a:lnTo>
                    <a:pt x="3669" y="592"/>
                  </a:lnTo>
                  <a:lnTo>
                    <a:pt x="3635" y="590"/>
                  </a:lnTo>
                  <a:lnTo>
                    <a:pt x="3603" y="584"/>
                  </a:lnTo>
                  <a:lnTo>
                    <a:pt x="3573" y="574"/>
                  </a:lnTo>
                  <a:lnTo>
                    <a:pt x="3548" y="561"/>
                  </a:lnTo>
                  <a:lnTo>
                    <a:pt x="3523" y="545"/>
                  </a:lnTo>
                  <a:lnTo>
                    <a:pt x="3503" y="524"/>
                  </a:lnTo>
                  <a:lnTo>
                    <a:pt x="3485" y="500"/>
                  </a:lnTo>
                  <a:lnTo>
                    <a:pt x="3471" y="472"/>
                  </a:lnTo>
                  <a:lnTo>
                    <a:pt x="3460" y="440"/>
                  </a:lnTo>
                  <a:lnTo>
                    <a:pt x="3454" y="404"/>
                  </a:lnTo>
                  <a:lnTo>
                    <a:pt x="3452" y="366"/>
                  </a:lnTo>
                  <a:lnTo>
                    <a:pt x="3452" y="357"/>
                  </a:lnTo>
                  <a:lnTo>
                    <a:pt x="3454" y="318"/>
                  </a:lnTo>
                  <a:lnTo>
                    <a:pt x="3461" y="283"/>
                  </a:lnTo>
                  <a:lnTo>
                    <a:pt x="3472" y="251"/>
                  </a:lnTo>
                  <a:lnTo>
                    <a:pt x="3486" y="222"/>
                  </a:lnTo>
                  <a:lnTo>
                    <a:pt x="3504" y="197"/>
                  </a:lnTo>
                  <a:lnTo>
                    <a:pt x="3524" y="176"/>
                  </a:lnTo>
                  <a:lnTo>
                    <a:pt x="3548" y="158"/>
                  </a:lnTo>
                  <a:lnTo>
                    <a:pt x="3575" y="144"/>
                  </a:lnTo>
                  <a:lnTo>
                    <a:pt x="3603" y="134"/>
                  </a:lnTo>
                  <a:lnTo>
                    <a:pt x="3632" y="128"/>
                  </a:lnTo>
                  <a:lnTo>
                    <a:pt x="3664" y="126"/>
                  </a:lnTo>
                  <a:close/>
                  <a:moveTo>
                    <a:pt x="2141" y="126"/>
                  </a:moveTo>
                  <a:lnTo>
                    <a:pt x="2167" y="127"/>
                  </a:lnTo>
                  <a:lnTo>
                    <a:pt x="2191" y="133"/>
                  </a:lnTo>
                  <a:lnTo>
                    <a:pt x="2213" y="143"/>
                  </a:lnTo>
                  <a:lnTo>
                    <a:pt x="2230" y="156"/>
                  </a:lnTo>
                  <a:lnTo>
                    <a:pt x="2247" y="173"/>
                  </a:lnTo>
                  <a:lnTo>
                    <a:pt x="2260" y="194"/>
                  </a:lnTo>
                  <a:lnTo>
                    <a:pt x="2268" y="219"/>
                  </a:lnTo>
                  <a:lnTo>
                    <a:pt x="2274" y="249"/>
                  </a:lnTo>
                  <a:lnTo>
                    <a:pt x="2276" y="283"/>
                  </a:lnTo>
                  <a:lnTo>
                    <a:pt x="2276" y="583"/>
                  </a:lnTo>
                  <a:lnTo>
                    <a:pt x="2151" y="583"/>
                  </a:lnTo>
                  <a:lnTo>
                    <a:pt x="2151" y="302"/>
                  </a:lnTo>
                  <a:lnTo>
                    <a:pt x="2150" y="278"/>
                  </a:lnTo>
                  <a:lnTo>
                    <a:pt x="2144" y="259"/>
                  </a:lnTo>
                  <a:lnTo>
                    <a:pt x="2135" y="245"/>
                  </a:lnTo>
                  <a:lnTo>
                    <a:pt x="2122" y="235"/>
                  </a:lnTo>
                  <a:lnTo>
                    <a:pt x="2105" y="229"/>
                  </a:lnTo>
                  <a:lnTo>
                    <a:pt x="2085" y="226"/>
                  </a:lnTo>
                  <a:lnTo>
                    <a:pt x="2067" y="229"/>
                  </a:lnTo>
                  <a:lnTo>
                    <a:pt x="2050" y="233"/>
                  </a:lnTo>
                  <a:lnTo>
                    <a:pt x="2036" y="242"/>
                  </a:lnTo>
                  <a:lnTo>
                    <a:pt x="2024" y="253"/>
                  </a:lnTo>
                  <a:lnTo>
                    <a:pt x="2015" y="269"/>
                  </a:lnTo>
                  <a:lnTo>
                    <a:pt x="2009" y="288"/>
                  </a:lnTo>
                  <a:lnTo>
                    <a:pt x="2006" y="310"/>
                  </a:lnTo>
                  <a:lnTo>
                    <a:pt x="2006" y="583"/>
                  </a:lnTo>
                  <a:lnTo>
                    <a:pt x="1882" y="583"/>
                  </a:lnTo>
                  <a:lnTo>
                    <a:pt x="1882" y="135"/>
                  </a:lnTo>
                  <a:lnTo>
                    <a:pt x="2006" y="135"/>
                  </a:lnTo>
                  <a:lnTo>
                    <a:pt x="2006" y="202"/>
                  </a:lnTo>
                  <a:lnTo>
                    <a:pt x="2017" y="185"/>
                  </a:lnTo>
                  <a:lnTo>
                    <a:pt x="2031" y="169"/>
                  </a:lnTo>
                  <a:lnTo>
                    <a:pt x="2048" y="154"/>
                  </a:lnTo>
                  <a:lnTo>
                    <a:pt x="2067" y="143"/>
                  </a:lnTo>
                  <a:lnTo>
                    <a:pt x="2089" y="134"/>
                  </a:lnTo>
                  <a:lnTo>
                    <a:pt x="2114" y="128"/>
                  </a:lnTo>
                  <a:lnTo>
                    <a:pt x="2141" y="126"/>
                  </a:lnTo>
                  <a:close/>
                  <a:moveTo>
                    <a:pt x="1601" y="126"/>
                  </a:moveTo>
                  <a:lnTo>
                    <a:pt x="1631" y="127"/>
                  </a:lnTo>
                  <a:lnTo>
                    <a:pt x="1659" y="132"/>
                  </a:lnTo>
                  <a:lnTo>
                    <a:pt x="1686" y="140"/>
                  </a:lnTo>
                  <a:lnTo>
                    <a:pt x="1712" y="152"/>
                  </a:lnTo>
                  <a:lnTo>
                    <a:pt x="1734" y="167"/>
                  </a:lnTo>
                  <a:lnTo>
                    <a:pt x="1754" y="185"/>
                  </a:lnTo>
                  <a:lnTo>
                    <a:pt x="1772" y="207"/>
                  </a:lnTo>
                  <a:lnTo>
                    <a:pt x="1786" y="233"/>
                  </a:lnTo>
                  <a:lnTo>
                    <a:pt x="1797" y="264"/>
                  </a:lnTo>
                  <a:lnTo>
                    <a:pt x="1803" y="298"/>
                  </a:lnTo>
                  <a:lnTo>
                    <a:pt x="1805" y="336"/>
                  </a:lnTo>
                  <a:lnTo>
                    <a:pt x="1805" y="390"/>
                  </a:lnTo>
                  <a:lnTo>
                    <a:pt x="1515" y="390"/>
                  </a:lnTo>
                  <a:lnTo>
                    <a:pt x="1519" y="417"/>
                  </a:lnTo>
                  <a:lnTo>
                    <a:pt x="1525" y="441"/>
                  </a:lnTo>
                  <a:lnTo>
                    <a:pt x="1533" y="460"/>
                  </a:lnTo>
                  <a:lnTo>
                    <a:pt x="1543" y="475"/>
                  </a:lnTo>
                  <a:lnTo>
                    <a:pt x="1556" y="487"/>
                  </a:lnTo>
                  <a:lnTo>
                    <a:pt x="1572" y="495"/>
                  </a:lnTo>
                  <a:lnTo>
                    <a:pt x="1588" y="500"/>
                  </a:lnTo>
                  <a:lnTo>
                    <a:pt x="1608" y="501"/>
                  </a:lnTo>
                  <a:lnTo>
                    <a:pt x="1629" y="499"/>
                  </a:lnTo>
                  <a:lnTo>
                    <a:pt x="1648" y="493"/>
                  </a:lnTo>
                  <a:lnTo>
                    <a:pt x="1664" y="485"/>
                  </a:lnTo>
                  <a:lnTo>
                    <a:pt x="1675" y="473"/>
                  </a:lnTo>
                  <a:lnTo>
                    <a:pt x="1684" y="459"/>
                  </a:lnTo>
                  <a:lnTo>
                    <a:pt x="1690" y="443"/>
                  </a:lnTo>
                  <a:lnTo>
                    <a:pt x="1805" y="443"/>
                  </a:lnTo>
                  <a:lnTo>
                    <a:pt x="1798" y="470"/>
                  </a:lnTo>
                  <a:lnTo>
                    <a:pt x="1787" y="495"/>
                  </a:lnTo>
                  <a:lnTo>
                    <a:pt x="1773" y="519"/>
                  </a:lnTo>
                  <a:lnTo>
                    <a:pt x="1754" y="540"/>
                  </a:lnTo>
                  <a:lnTo>
                    <a:pt x="1732" y="558"/>
                  </a:lnTo>
                  <a:lnTo>
                    <a:pt x="1706" y="572"/>
                  </a:lnTo>
                  <a:lnTo>
                    <a:pt x="1677" y="583"/>
                  </a:lnTo>
                  <a:lnTo>
                    <a:pt x="1642" y="590"/>
                  </a:lnTo>
                  <a:lnTo>
                    <a:pt x="1606" y="592"/>
                  </a:lnTo>
                  <a:lnTo>
                    <a:pt x="1572" y="590"/>
                  </a:lnTo>
                  <a:lnTo>
                    <a:pt x="1540" y="584"/>
                  </a:lnTo>
                  <a:lnTo>
                    <a:pt x="1510" y="574"/>
                  </a:lnTo>
                  <a:lnTo>
                    <a:pt x="1483" y="561"/>
                  </a:lnTo>
                  <a:lnTo>
                    <a:pt x="1460" y="545"/>
                  </a:lnTo>
                  <a:lnTo>
                    <a:pt x="1439" y="524"/>
                  </a:lnTo>
                  <a:lnTo>
                    <a:pt x="1421" y="500"/>
                  </a:lnTo>
                  <a:lnTo>
                    <a:pt x="1407" y="472"/>
                  </a:lnTo>
                  <a:lnTo>
                    <a:pt x="1397" y="440"/>
                  </a:lnTo>
                  <a:lnTo>
                    <a:pt x="1390" y="404"/>
                  </a:lnTo>
                  <a:lnTo>
                    <a:pt x="1389" y="366"/>
                  </a:lnTo>
                  <a:lnTo>
                    <a:pt x="1389" y="357"/>
                  </a:lnTo>
                  <a:lnTo>
                    <a:pt x="1391" y="318"/>
                  </a:lnTo>
                  <a:lnTo>
                    <a:pt x="1397" y="283"/>
                  </a:lnTo>
                  <a:lnTo>
                    <a:pt x="1408" y="251"/>
                  </a:lnTo>
                  <a:lnTo>
                    <a:pt x="1422" y="222"/>
                  </a:lnTo>
                  <a:lnTo>
                    <a:pt x="1440" y="197"/>
                  </a:lnTo>
                  <a:lnTo>
                    <a:pt x="1461" y="176"/>
                  </a:lnTo>
                  <a:lnTo>
                    <a:pt x="1485" y="158"/>
                  </a:lnTo>
                  <a:lnTo>
                    <a:pt x="1510" y="144"/>
                  </a:lnTo>
                  <a:lnTo>
                    <a:pt x="1539" y="134"/>
                  </a:lnTo>
                  <a:lnTo>
                    <a:pt x="1569" y="128"/>
                  </a:lnTo>
                  <a:lnTo>
                    <a:pt x="1601" y="126"/>
                  </a:lnTo>
                  <a:close/>
                  <a:moveTo>
                    <a:pt x="1138" y="126"/>
                  </a:moveTo>
                  <a:lnTo>
                    <a:pt x="1169" y="127"/>
                  </a:lnTo>
                  <a:lnTo>
                    <a:pt x="1197" y="132"/>
                  </a:lnTo>
                  <a:lnTo>
                    <a:pt x="1223" y="140"/>
                  </a:lnTo>
                  <a:lnTo>
                    <a:pt x="1248" y="152"/>
                  </a:lnTo>
                  <a:lnTo>
                    <a:pt x="1270" y="166"/>
                  </a:lnTo>
                  <a:lnTo>
                    <a:pt x="1290" y="185"/>
                  </a:lnTo>
                  <a:lnTo>
                    <a:pt x="1307" y="206"/>
                  </a:lnTo>
                  <a:lnTo>
                    <a:pt x="1320" y="232"/>
                  </a:lnTo>
                  <a:lnTo>
                    <a:pt x="1329" y="262"/>
                  </a:lnTo>
                  <a:lnTo>
                    <a:pt x="1334" y="295"/>
                  </a:lnTo>
                  <a:lnTo>
                    <a:pt x="1215" y="295"/>
                  </a:lnTo>
                  <a:lnTo>
                    <a:pt x="1209" y="273"/>
                  </a:lnTo>
                  <a:lnTo>
                    <a:pt x="1202" y="256"/>
                  </a:lnTo>
                  <a:lnTo>
                    <a:pt x="1191" y="242"/>
                  </a:lnTo>
                  <a:lnTo>
                    <a:pt x="1178" y="231"/>
                  </a:lnTo>
                  <a:lnTo>
                    <a:pt x="1161" y="225"/>
                  </a:lnTo>
                  <a:lnTo>
                    <a:pt x="1140" y="223"/>
                  </a:lnTo>
                  <a:lnTo>
                    <a:pt x="1122" y="224"/>
                  </a:lnTo>
                  <a:lnTo>
                    <a:pt x="1105" y="231"/>
                  </a:lnTo>
                  <a:lnTo>
                    <a:pt x="1090" y="240"/>
                  </a:lnTo>
                  <a:lnTo>
                    <a:pt x="1077" y="255"/>
                  </a:lnTo>
                  <a:lnTo>
                    <a:pt x="1066" y="272"/>
                  </a:lnTo>
                  <a:lnTo>
                    <a:pt x="1058" y="295"/>
                  </a:lnTo>
                  <a:lnTo>
                    <a:pt x="1053" y="322"/>
                  </a:lnTo>
                  <a:lnTo>
                    <a:pt x="1051" y="353"/>
                  </a:lnTo>
                  <a:lnTo>
                    <a:pt x="1051" y="366"/>
                  </a:lnTo>
                  <a:lnTo>
                    <a:pt x="1053" y="397"/>
                  </a:lnTo>
                  <a:lnTo>
                    <a:pt x="1058" y="424"/>
                  </a:lnTo>
                  <a:lnTo>
                    <a:pt x="1065" y="448"/>
                  </a:lnTo>
                  <a:lnTo>
                    <a:pt x="1075" y="466"/>
                  </a:lnTo>
                  <a:lnTo>
                    <a:pt x="1087" y="480"/>
                  </a:lnTo>
                  <a:lnTo>
                    <a:pt x="1103" y="489"/>
                  </a:lnTo>
                  <a:lnTo>
                    <a:pt x="1122" y="495"/>
                  </a:lnTo>
                  <a:lnTo>
                    <a:pt x="1142" y="498"/>
                  </a:lnTo>
                  <a:lnTo>
                    <a:pt x="1162" y="495"/>
                  </a:lnTo>
                  <a:lnTo>
                    <a:pt x="1181" y="488"/>
                  </a:lnTo>
                  <a:lnTo>
                    <a:pt x="1196" y="475"/>
                  </a:lnTo>
                  <a:lnTo>
                    <a:pt x="1209" y="460"/>
                  </a:lnTo>
                  <a:lnTo>
                    <a:pt x="1217" y="440"/>
                  </a:lnTo>
                  <a:lnTo>
                    <a:pt x="1223" y="417"/>
                  </a:lnTo>
                  <a:lnTo>
                    <a:pt x="1336" y="417"/>
                  </a:lnTo>
                  <a:lnTo>
                    <a:pt x="1331" y="450"/>
                  </a:lnTo>
                  <a:lnTo>
                    <a:pt x="1322" y="480"/>
                  </a:lnTo>
                  <a:lnTo>
                    <a:pt x="1308" y="508"/>
                  </a:lnTo>
                  <a:lnTo>
                    <a:pt x="1290" y="532"/>
                  </a:lnTo>
                  <a:lnTo>
                    <a:pt x="1268" y="552"/>
                  </a:lnTo>
                  <a:lnTo>
                    <a:pt x="1241" y="570"/>
                  </a:lnTo>
                  <a:lnTo>
                    <a:pt x="1211" y="581"/>
                  </a:lnTo>
                  <a:lnTo>
                    <a:pt x="1176" y="588"/>
                  </a:lnTo>
                  <a:lnTo>
                    <a:pt x="1138" y="592"/>
                  </a:lnTo>
                  <a:lnTo>
                    <a:pt x="1105" y="590"/>
                  </a:lnTo>
                  <a:lnTo>
                    <a:pt x="1073" y="584"/>
                  </a:lnTo>
                  <a:lnTo>
                    <a:pt x="1045" y="574"/>
                  </a:lnTo>
                  <a:lnTo>
                    <a:pt x="1019" y="561"/>
                  </a:lnTo>
                  <a:lnTo>
                    <a:pt x="996" y="544"/>
                  </a:lnTo>
                  <a:lnTo>
                    <a:pt x="974" y="524"/>
                  </a:lnTo>
                  <a:lnTo>
                    <a:pt x="957" y="499"/>
                  </a:lnTo>
                  <a:lnTo>
                    <a:pt x="944" y="470"/>
                  </a:lnTo>
                  <a:lnTo>
                    <a:pt x="933" y="439"/>
                  </a:lnTo>
                  <a:lnTo>
                    <a:pt x="926" y="403"/>
                  </a:lnTo>
                  <a:lnTo>
                    <a:pt x="925" y="363"/>
                  </a:lnTo>
                  <a:lnTo>
                    <a:pt x="925" y="357"/>
                  </a:lnTo>
                  <a:lnTo>
                    <a:pt x="926" y="318"/>
                  </a:lnTo>
                  <a:lnTo>
                    <a:pt x="933" y="282"/>
                  </a:lnTo>
                  <a:lnTo>
                    <a:pt x="944" y="250"/>
                  </a:lnTo>
                  <a:lnTo>
                    <a:pt x="959" y="222"/>
                  </a:lnTo>
                  <a:lnTo>
                    <a:pt x="977" y="196"/>
                  </a:lnTo>
                  <a:lnTo>
                    <a:pt x="998" y="174"/>
                  </a:lnTo>
                  <a:lnTo>
                    <a:pt x="1021" y="158"/>
                  </a:lnTo>
                  <a:lnTo>
                    <a:pt x="1049" y="144"/>
                  </a:lnTo>
                  <a:lnTo>
                    <a:pt x="1077" y="134"/>
                  </a:lnTo>
                  <a:lnTo>
                    <a:pt x="1106" y="128"/>
                  </a:lnTo>
                  <a:lnTo>
                    <a:pt x="1138" y="126"/>
                  </a:lnTo>
                  <a:close/>
                  <a:moveTo>
                    <a:pt x="674" y="126"/>
                  </a:moveTo>
                  <a:lnTo>
                    <a:pt x="705" y="127"/>
                  </a:lnTo>
                  <a:lnTo>
                    <a:pt x="733" y="132"/>
                  </a:lnTo>
                  <a:lnTo>
                    <a:pt x="759" y="140"/>
                  </a:lnTo>
                  <a:lnTo>
                    <a:pt x="783" y="152"/>
                  </a:lnTo>
                  <a:lnTo>
                    <a:pt x="806" y="166"/>
                  </a:lnTo>
                  <a:lnTo>
                    <a:pt x="826" y="185"/>
                  </a:lnTo>
                  <a:lnTo>
                    <a:pt x="842" y="206"/>
                  </a:lnTo>
                  <a:lnTo>
                    <a:pt x="855" y="232"/>
                  </a:lnTo>
                  <a:lnTo>
                    <a:pt x="865" y="262"/>
                  </a:lnTo>
                  <a:lnTo>
                    <a:pt x="869" y="295"/>
                  </a:lnTo>
                  <a:lnTo>
                    <a:pt x="751" y="295"/>
                  </a:lnTo>
                  <a:lnTo>
                    <a:pt x="745" y="273"/>
                  </a:lnTo>
                  <a:lnTo>
                    <a:pt x="738" y="256"/>
                  </a:lnTo>
                  <a:lnTo>
                    <a:pt x="727" y="242"/>
                  </a:lnTo>
                  <a:lnTo>
                    <a:pt x="714" y="231"/>
                  </a:lnTo>
                  <a:lnTo>
                    <a:pt x="696" y="225"/>
                  </a:lnTo>
                  <a:lnTo>
                    <a:pt x="676" y="223"/>
                  </a:lnTo>
                  <a:lnTo>
                    <a:pt x="657" y="224"/>
                  </a:lnTo>
                  <a:lnTo>
                    <a:pt x="641" y="231"/>
                  </a:lnTo>
                  <a:lnTo>
                    <a:pt x="626" y="240"/>
                  </a:lnTo>
                  <a:lnTo>
                    <a:pt x="613" y="255"/>
                  </a:lnTo>
                  <a:lnTo>
                    <a:pt x="602" y="272"/>
                  </a:lnTo>
                  <a:lnTo>
                    <a:pt x="594" y="295"/>
                  </a:lnTo>
                  <a:lnTo>
                    <a:pt x="589" y="322"/>
                  </a:lnTo>
                  <a:lnTo>
                    <a:pt x="587" y="353"/>
                  </a:lnTo>
                  <a:lnTo>
                    <a:pt x="587" y="366"/>
                  </a:lnTo>
                  <a:lnTo>
                    <a:pt x="589" y="397"/>
                  </a:lnTo>
                  <a:lnTo>
                    <a:pt x="593" y="424"/>
                  </a:lnTo>
                  <a:lnTo>
                    <a:pt x="601" y="448"/>
                  </a:lnTo>
                  <a:lnTo>
                    <a:pt x="610" y="466"/>
                  </a:lnTo>
                  <a:lnTo>
                    <a:pt x="623" y="480"/>
                  </a:lnTo>
                  <a:lnTo>
                    <a:pt x="639" y="489"/>
                  </a:lnTo>
                  <a:lnTo>
                    <a:pt x="657" y="495"/>
                  </a:lnTo>
                  <a:lnTo>
                    <a:pt x="677" y="498"/>
                  </a:lnTo>
                  <a:lnTo>
                    <a:pt x="697" y="495"/>
                  </a:lnTo>
                  <a:lnTo>
                    <a:pt x="716" y="488"/>
                  </a:lnTo>
                  <a:lnTo>
                    <a:pt x="732" y="475"/>
                  </a:lnTo>
                  <a:lnTo>
                    <a:pt x="745" y="460"/>
                  </a:lnTo>
                  <a:lnTo>
                    <a:pt x="753" y="440"/>
                  </a:lnTo>
                  <a:lnTo>
                    <a:pt x="759" y="417"/>
                  </a:lnTo>
                  <a:lnTo>
                    <a:pt x="872" y="417"/>
                  </a:lnTo>
                  <a:lnTo>
                    <a:pt x="867" y="450"/>
                  </a:lnTo>
                  <a:lnTo>
                    <a:pt x="858" y="480"/>
                  </a:lnTo>
                  <a:lnTo>
                    <a:pt x="844" y="508"/>
                  </a:lnTo>
                  <a:lnTo>
                    <a:pt x="826" y="532"/>
                  </a:lnTo>
                  <a:lnTo>
                    <a:pt x="804" y="552"/>
                  </a:lnTo>
                  <a:lnTo>
                    <a:pt x="776" y="570"/>
                  </a:lnTo>
                  <a:lnTo>
                    <a:pt x="746" y="581"/>
                  </a:lnTo>
                  <a:lnTo>
                    <a:pt x="712" y="588"/>
                  </a:lnTo>
                  <a:lnTo>
                    <a:pt x="674" y="592"/>
                  </a:lnTo>
                  <a:lnTo>
                    <a:pt x="641" y="590"/>
                  </a:lnTo>
                  <a:lnTo>
                    <a:pt x="609" y="584"/>
                  </a:lnTo>
                  <a:lnTo>
                    <a:pt x="581" y="574"/>
                  </a:lnTo>
                  <a:lnTo>
                    <a:pt x="555" y="561"/>
                  </a:lnTo>
                  <a:lnTo>
                    <a:pt x="531" y="544"/>
                  </a:lnTo>
                  <a:lnTo>
                    <a:pt x="510" y="524"/>
                  </a:lnTo>
                  <a:lnTo>
                    <a:pt x="492" y="499"/>
                  </a:lnTo>
                  <a:lnTo>
                    <a:pt x="478" y="470"/>
                  </a:lnTo>
                  <a:lnTo>
                    <a:pt x="469" y="439"/>
                  </a:lnTo>
                  <a:lnTo>
                    <a:pt x="462" y="403"/>
                  </a:lnTo>
                  <a:lnTo>
                    <a:pt x="459" y="363"/>
                  </a:lnTo>
                  <a:lnTo>
                    <a:pt x="459" y="357"/>
                  </a:lnTo>
                  <a:lnTo>
                    <a:pt x="462" y="318"/>
                  </a:lnTo>
                  <a:lnTo>
                    <a:pt x="469" y="282"/>
                  </a:lnTo>
                  <a:lnTo>
                    <a:pt x="480" y="250"/>
                  </a:lnTo>
                  <a:lnTo>
                    <a:pt x="495" y="222"/>
                  </a:lnTo>
                  <a:lnTo>
                    <a:pt x="513" y="196"/>
                  </a:lnTo>
                  <a:lnTo>
                    <a:pt x="534" y="174"/>
                  </a:lnTo>
                  <a:lnTo>
                    <a:pt x="557" y="158"/>
                  </a:lnTo>
                  <a:lnTo>
                    <a:pt x="583" y="144"/>
                  </a:lnTo>
                  <a:lnTo>
                    <a:pt x="613" y="134"/>
                  </a:lnTo>
                  <a:lnTo>
                    <a:pt x="642" y="128"/>
                  </a:lnTo>
                  <a:lnTo>
                    <a:pt x="674" y="126"/>
                  </a:lnTo>
                  <a:close/>
                  <a:moveTo>
                    <a:pt x="206" y="126"/>
                  </a:moveTo>
                  <a:lnTo>
                    <a:pt x="238" y="127"/>
                  </a:lnTo>
                  <a:lnTo>
                    <a:pt x="267" y="132"/>
                  </a:lnTo>
                  <a:lnTo>
                    <a:pt x="293" y="139"/>
                  </a:lnTo>
                  <a:lnTo>
                    <a:pt x="318" y="150"/>
                  </a:lnTo>
                  <a:lnTo>
                    <a:pt x="339" y="163"/>
                  </a:lnTo>
                  <a:lnTo>
                    <a:pt x="357" y="180"/>
                  </a:lnTo>
                  <a:lnTo>
                    <a:pt x="371" y="200"/>
                  </a:lnTo>
                  <a:lnTo>
                    <a:pt x="382" y="224"/>
                  </a:lnTo>
                  <a:lnTo>
                    <a:pt x="389" y="252"/>
                  </a:lnTo>
                  <a:lnTo>
                    <a:pt x="391" y="283"/>
                  </a:lnTo>
                  <a:lnTo>
                    <a:pt x="391" y="583"/>
                  </a:lnTo>
                  <a:lnTo>
                    <a:pt x="269" y="583"/>
                  </a:lnTo>
                  <a:lnTo>
                    <a:pt x="269" y="531"/>
                  </a:lnTo>
                  <a:lnTo>
                    <a:pt x="257" y="547"/>
                  </a:lnTo>
                  <a:lnTo>
                    <a:pt x="242" y="561"/>
                  </a:lnTo>
                  <a:lnTo>
                    <a:pt x="223" y="573"/>
                  </a:lnTo>
                  <a:lnTo>
                    <a:pt x="200" y="583"/>
                  </a:lnTo>
                  <a:lnTo>
                    <a:pt x="176" y="590"/>
                  </a:lnTo>
                  <a:lnTo>
                    <a:pt x="147" y="592"/>
                  </a:lnTo>
                  <a:lnTo>
                    <a:pt x="120" y="590"/>
                  </a:lnTo>
                  <a:lnTo>
                    <a:pt x="95" y="585"/>
                  </a:lnTo>
                  <a:lnTo>
                    <a:pt x="73" y="578"/>
                  </a:lnTo>
                  <a:lnTo>
                    <a:pt x="53" y="566"/>
                  </a:lnTo>
                  <a:lnTo>
                    <a:pt x="35" y="552"/>
                  </a:lnTo>
                  <a:lnTo>
                    <a:pt x="20" y="534"/>
                  </a:lnTo>
                  <a:lnTo>
                    <a:pt x="9" y="513"/>
                  </a:lnTo>
                  <a:lnTo>
                    <a:pt x="2" y="488"/>
                  </a:lnTo>
                  <a:lnTo>
                    <a:pt x="0" y="460"/>
                  </a:lnTo>
                  <a:lnTo>
                    <a:pt x="0" y="455"/>
                  </a:lnTo>
                  <a:lnTo>
                    <a:pt x="2" y="427"/>
                  </a:lnTo>
                  <a:lnTo>
                    <a:pt x="9" y="402"/>
                  </a:lnTo>
                  <a:lnTo>
                    <a:pt x="20" y="381"/>
                  </a:lnTo>
                  <a:lnTo>
                    <a:pt x="34" y="362"/>
                  </a:lnTo>
                  <a:lnTo>
                    <a:pt x="52" y="347"/>
                  </a:lnTo>
                  <a:lnTo>
                    <a:pt x="73" y="335"/>
                  </a:lnTo>
                  <a:lnTo>
                    <a:pt x="97" y="325"/>
                  </a:lnTo>
                  <a:lnTo>
                    <a:pt x="123" y="317"/>
                  </a:lnTo>
                  <a:lnTo>
                    <a:pt x="151" y="312"/>
                  </a:lnTo>
                  <a:lnTo>
                    <a:pt x="180" y="310"/>
                  </a:lnTo>
                  <a:lnTo>
                    <a:pt x="211" y="309"/>
                  </a:lnTo>
                  <a:lnTo>
                    <a:pt x="266" y="309"/>
                  </a:lnTo>
                  <a:lnTo>
                    <a:pt x="266" y="288"/>
                  </a:lnTo>
                  <a:lnTo>
                    <a:pt x="265" y="266"/>
                  </a:lnTo>
                  <a:lnTo>
                    <a:pt x="259" y="249"/>
                  </a:lnTo>
                  <a:lnTo>
                    <a:pt x="251" y="235"/>
                  </a:lnTo>
                  <a:lnTo>
                    <a:pt x="238" y="224"/>
                  </a:lnTo>
                  <a:lnTo>
                    <a:pt x="221" y="218"/>
                  </a:lnTo>
                  <a:lnTo>
                    <a:pt x="200" y="216"/>
                  </a:lnTo>
                  <a:lnTo>
                    <a:pt x="181" y="218"/>
                  </a:lnTo>
                  <a:lnTo>
                    <a:pt x="165" y="223"/>
                  </a:lnTo>
                  <a:lnTo>
                    <a:pt x="152" y="232"/>
                  </a:lnTo>
                  <a:lnTo>
                    <a:pt x="143" y="244"/>
                  </a:lnTo>
                  <a:lnTo>
                    <a:pt x="137" y="258"/>
                  </a:lnTo>
                  <a:lnTo>
                    <a:pt x="133" y="273"/>
                  </a:lnTo>
                  <a:lnTo>
                    <a:pt x="14" y="273"/>
                  </a:lnTo>
                  <a:lnTo>
                    <a:pt x="19" y="243"/>
                  </a:lnTo>
                  <a:lnTo>
                    <a:pt x="29" y="216"/>
                  </a:lnTo>
                  <a:lnTo>
                    <a:pt x="44" y="191"/>
                  </a:lnTo>
                  <a:lnTo>
                    <a:pt x="62" y="171"/>
                  </a:lnTo>
                  <a:lnTo>
                    <a:pt x="85" y="156"/>
                  </a:lnTo>
                  <a:lnTo>
                    <a:pt x="112" y="143"/>
                  </a:lnTo>
                  <a:lnTo>
                    <a:pt x="140" y="133"/>
                  </a:lnTo>
                  <a:lnTo>
                    <a:pt x="172" y="127"/>
                  </a:lnTo>
                  <a:lnTo>
                    <a:pt x="206" y="126"/>
                  </a:lnTo>
                  <a:close/>
                  <a:moveTo>
                    <a:pt x="2510" y="0"/>
                  </a:moveTo>
                  <a:lnTo>
                    <a:pt x="2510" y="135"/>
                  </a:lnTo>
                  <a:lnTo>
                    <a:pt x="2594" y="135"/>
                  </a:lnTo>
                  <a:lnTo>
                    <a:pt x="2594" y="229"/>
                  </a:lnTo>
                  <a:lnTo>
                    <a:pt x="2510" y="229"/>
                  </a:lnTo>
                  <a:lnTo>
                    <a:pt x="2510" y="440"/>
                  </a:lnTo>
                  <a:lnTo>
                    <a:pt x="2511" y="459"/>
                  </a:lnTo>
                  <a:lnTo>
                    <a:pt x="2517" y="472"/>
                  </a:lnTo>
                  <a:lnTo>
                    <a:pt x="2525" y="481"/>
                  </a:lnTo>
                  <a:lnTo>
                    <a:pt x="2538" y="487"/>
                  </a:lnTo>
                  <a:lnTo>
                    <a:pt x="2553" y="489"/>
                  </a:lnTo>
                  <a:lnTo>
                    <a:pt x="2570" y="488"/>
                  </a:lnTo>
                  <a:lnTo>
                    <a:pt x="2585" y="486"/>
                  </a:lnTo>
                  <a:lnTo>
                    <a:pt x="2597" y="481"/>
                  </a:lnTo>
                  <a:lnTo>
                    <a:pt x="2597" y="579"/>
                  </a:lnTo>
                  <a:lnTo>
                    <a:pt x="2579" y="584"/>
                  </a:lnTo>
                  <a:lnTo>
                    <a:pt x="2555" y="587"/>
                  </a:lnTo>
                  <a:lnTo>
                    <a:pt x="2527" y="588"/>
                  </a:lnTo>
                  <a:lnTo>
                    <a:pt x="2493" y="586"/>
                  </a:lnTo>
                  <a:lnTo>
                    <a:pt x="2464" y="580"/>
                  </a:lnTo>
                  <a:lnTo>
                    <a:pt x="2439" y="570"/>
                  </a:lnTo>
                  <a:lnTo>
                    <a:pt x="2419" y="554"/>
                  </a:lnTo>
                  <a:lnTo>
                    <a:pt x="2403" y="535"/>
                  </a:lnTo>
                  <a:lnTo>
                    <a:pt x="2393" y="513"/>
                  </a:lnTo>
                  <a:lnTo>
                    <a:pt x="2386" y="485"/>
                  </a:lnTo>
                  <a:lnTo>
                    <a:pt x="2383" y="453"/>
                  </a:lnTo>
                  <a:lnTo>
                    <a:pt x="2383" y="229"/>
                  </a:lnTo>
                  <a:lnTo>
                    <a:pt x="2332" y="229"/>
                  </a:lnTo>
                  <a:lnTo>
                    <a:pt x="2332" y="135"/>
                  </a:lnTo>
                  <a:lnTo>
                    <a:pt x="2383" y="135"/>
                  </a:lnTo>
                  <a:lnTo>
                    <a:pt x="2383" y="52"/>
                  </a:lnTo>
                  <a:lnTo>
                    <a:pt x="25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78431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1000" y="1763713"/>
            <a:ext cx="114300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 marL="182875">
              <a:defRPr lang="en-US" sz="1600" dirty="0" smtClean="0"/>
            </a:lvl2pPr>
            <a:lvl3pPr marL="365751"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129540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296115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0999" y="1803400"/>
            <a:ext cx="5553075" cy="4254500"/>
          </a:xfrm>
        </p:spPr>
        <p:txBody>
          <a:bodyPr/>
          <a:lstStyle>
            <a:lvl1pPr>
              <a:lnSpc>
                <a:spcPct val="80000"/>
              </a:lnSpc>
              <a:defRPr sz="5400" cap="all" baseline="0"/>
            </a:lvl1pPr>
          </a:lstStyle>
          <a:p>
            <a:r>
              <a:rPr lang="en-US"/>
              <a:t>SECTION INTRO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257925" y="1763714"/>
            <a:ext cx="5553075" cy="429418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90684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1">
          <p15:clr>
            <a:srgbClr val="FBAE40"/>
          </p15:clr>
        </p15:guide>
        <p15:guide id="2" pos="374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257925" y="1763714"/>
            <a:ext cx="5553075" cy="429418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" name="Group 35"/>
          <p:cNvGrpSpPr/>
          <p:nvPr userDrawn="1"/>
        </p:nvGrpSpPr>
        <p:grpSpPr>
          <a:xfrm>
            <a:off x="1828800" y="1676821"/>
            <a:ext cx="4105275" cy="4190699"/>
            <a:chOff x="336907" y="342900"/>
            <a:chExt cx="2298344" cy="2346169"/>
          </a:xfrm>
        </p:grpSpPr>
        <p:sp>
          <p:nvSpPr>
            <p:cNvPr id="6" name="Freeform 12"/>
            <p:cNvSpPr>
              <a:spLocks/>
            </p:cNvSpPr>
            <p:nvPr userDrawn="1"/>
          </p:nvSpPr>
          <p:spPr bwMode="auto">
            <a:xfrm>
              <a:off x="336907" y="1283172"/>
              <a:ext cx="2298344" cy="1405897"/>
            </a:xfrm>
            <a:custGeom>
              <a:avLst/>
              <a:gdLst>
                <a:gd name="T0" fmla="*/ 0 w 2495"/>
                <a:gd name="T1" fmla="*/ 961 h 1525"/>
                <a:gd name="T2" fmla="*/ 0 w 2495"/>
                <a:gd name="T3" fmla="*/ 961 h 1525"/>
                <a:gd name="T4" fmla="*/ 0 w 2495"/>
                <a:gd name="T5" fmla="*/ 1525 h 1525"/>
                <a:gd name="T6" fmla="*/ 2495 w 2495"/>
                <a:gd name="T7" fmla="*/ 512 h 1525"/>
                <a:gd name="T8" fmla="*/ 2495 w 2495"/>
                <a:gd name="T9" fmla="*/ 0 h 1525"/>
                <a:gd name="T10" fmla="*/ 0 w 2495"/>
                <a:gd name="T11" fmla="*/ 961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25">
                  <a:moveTo>
                    <a:pt x="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0" y="1525"/>
                    <a:pt x="0" y="1525"/>
                    <a:pt x="0" y="1525"/>
                  </a:cubicBezTo>
                  <a:cubicBezTo>
                    <a:pt x="2495" y="512"/>
                    <a:pt x="2495" y="512"/>
                    <a:pt x="2495" y="512"/>
                  </a:cubicBezTo>
                  <a:cubicBezTo>
                    <a:pt x="2495" y="0"/>
                    <a:pt x="2495" y="0"/>
                    <a:pt x="2495" y="0"/>
                  </a:cubicBezTo>
                  <a:lnTo>
                    <a:pt x="0" y="961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  <p:sp>
          <p:nvSpPr>
            <p:cNvPr id="7" name="Freeform 11"/>
            <p:cNvSpPr>
              <a:spLocks/>
            </p:cNvSpPr>
            <p:nvPr userDrawn="1"/>
          </p:nvSpPr>
          <p:spPr bwMode="auto">
            <a:xfrm>
              <a:off x="336907" y="342900"/>
              <a:ext cx="2298344" cy="1412213"/>
            </a:xfrm>
            <a:custGeom>
              <a:avLst/>
              <a:gdLst>
                <a:gd name="T0" fmla="*/ 2495 w 2495"/>
                <a:gd name="T1" fmla="*/ 1532 h 1532"/>
                <a:gd name="T2" fmla="*/ 2495 w 2495"/>
                <a:gd name="T3" fmla="*/ 1013 h 1532"/>
                <a:gd name="T4" fmla="*/ 0 w 2495"/>
                <a:gd name="T5" fmla="*/ 0 h 1532"/>
                <a:gd name="T6" fmla="*/ 0 w 2495"/>
                <a:gd name="T7" fmla="*/ 565 h 1532"/>
                <a:gd name="T8" fmla="*/ 2494 w 2495"/>
                <a:gd name="T9" fmla="*/ 1532 h 1532"/>
                <a:gd name="T10" fmla="*/ 2495 w 2495"/>
                <a:gd name="T11" fmla="*/ 1532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32">
                  <a:moveTo>
                    <a:pt x="2495" y="1532"/>
                  </a:moveTo>
                  <a:cubicBezTo>
                    <a:pt x="2495" y="1013"/>
                    <a:pt x="2495" y="1013"/>
                    <a:pt x="2495" y="10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812" y="880"/>
                    <a:pt x="1906" y="1304"/>
                    <a:pt x="2494" y="1532"/>
                  </a:cubicBezTo>
                  <a:lnTo>
                    <a:pt x="2495" y="153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0999" y="1803400"/>
            <a:ext cx="5553075" cy="4254500"/>
          </a:xfrm>
        </p:spPr>
        <p:txBody>
          <a:bodyPr anchor="ctr" anchorCtr="0"/>
          <a:lstStyle>
            <a:lvl1pPr>
              <a:lnSpc>
                <a:spcPct val="80000"/>
              </a:lnSpc>
              <a:defRPr sz="54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Master title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76892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0999" y="1763713"/>
            <a:ext cx="5553075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257925" y="1763714"/>
            <a:ext cx="5553075" cy="429418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129540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44475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&amp;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0999" y="1763729"/>
            <a:ext cx="3547493" cy="4294171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8256657" y="1763713"/>
            <a:ext cx="3547493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318828" y="1763713"/>
            <a:ext cx="3547493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6527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6">
          <p15:clr>
            <a:srgbClr val="FBAE40"/>
          </p15:clr>
        </p15:guide>
        <p15:guide id="2" pos="2479">
          <p15:clr>
            <a:srgbClr val="FBAE40"/>
          </p15:clr>
        </p15:guide>
        <p15:guide id="3" pos="4974">
          <p15:clr>
            <a:srgbClr val="FBAE40"/>
          </p15:clr>
        </p15:guide>
        <p15:guide id="4" pos="520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333750" y="1763713"/>
            <a:ext cx="25908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81000" y="1763713"/>
            <a:ext cx="25908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9239250" y="1763713"/>
            <a:ext cx="25908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6286500" y="1763713"/>
            <a:ext cx="25908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dirty="0" smtClean="0"/>
            </a:lvl1pPr>
            <a:lvl2pPr>
              <a:defRPr lang="en-US" sz="1600" b="0" dirty="0" smtClean="0"/>
            </a:lvl2pPr>
            <a:lvl3pPr>
              <a:defRPr lang="en-US" sz="1600" b="0" dirty="0" smtClean="0"/>
            </a:lvl3pPr>
            <a:lvl4pPr>
              <a:defRPr lang="en-US" sz="1600" b="0" dirty="0" smtClean="0"/>
            </a:lvl4pPr>
            <a:lvl5pPr>
              <a:defRPr lang="en-US" sz="1600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2774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5586">
          <p15:clr>
            <a:srgbClr val="FBAE40"/>
          </p15:clr>
        </p15:guide>
        <p15:guide id="4" pos="5813">
          <p15:clr>
            <a:srgbClr val="FBAE40"/>
          </p15:clr>
        </p15:guide>
        <p15:guide id="5" pos="2094">
          <p15:clr>
            <a:srgbClr val="FBAE40"/>
          </p15:clr>
        </p15:guide>
        <p15:guide id="6" pos="186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03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176303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957002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5" name="Picture 4" hidden="1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-168620" y="1"/>
            <a:ext cx="12055819" cy="6857143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16036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bg>
      <p:bgPr>
        <a:gradFill>
          <a:gsLst>
            <a:gs pos="0">
              <a:schemeClr val="accent3"/>
            </a:gs>
            <a:gs pos="100000">
              <a:schemeClr val="accent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405017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">
    <p:bg>
      <p:bgPr>
        <a:gradFill>
          <a:gsLst>
            <a:gs pos="100000">
              <a:schemeClr val="accent1"/>
            </a:gs>
            <a:gs pos="64000">
              <a:schemeClr val="accent3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899D8A-FE23-4DC1-8812-EA427C1B1D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899D8A-FE23-4DC1-8812-EA427C1B1D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A6284F9-4365-4306-A46C-5FAB997F5F9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3719880"/>
            <a:ext cx="9955742" cy="11510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chemeClr val="bg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369779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DE521DD-F869-4942-ACAE-34C787B896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60680"/>
            <a:ext cx="11430000" cy="9906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sz="4000" b="0" i="0" cap="all" baseline="0">
                <a:solidFill>
                  <a:srgbClr val="000000"/>
                </a:solidFill>
                <a:latin typeface="Graphik Black" panose="020B0A03030202060203" pitchFamily="34" charset="0"/>
              </a:defRPr>
            </a:lvl1pPr>
          </a:lstStyle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</p:spTree>
    <p:extLst>
      <p:ext uri="{BB962C8B-B14F-4D97-AF65-F5344CB8AC3E}">
        <p14:creationId xmlns:p14="http://schemas.microsoft.com/office/powerpoint/2010/main" val="26122533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8804" y="6546469"/>
            <a:ext cx="770951" cy="138499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 i="0">
                <a:solidFill>
                  <a:srgbClr val="5A5A5A"/>
                </a:solidFill>
                <a:latin typeface="Graphik" panose="020B0503030202060203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60000" y="6546469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5A5A5A"/>
                </a:solidFill>
                <a:latin typeface="Graphik" panose="020B0503030202060203" pitchFamily="34" charset="0"/>
                <a:sym typeface="Graphik" panose="020B0503030202060203" pitchFamily="34" charset="0"/>
              </a:defRPr>
            </a:lvl1pPr>
          </a:lstStyle>
          <a:p>
            <a:pPr defTabSz="1087106"/>
            <a:r>
              <a:rPr lang="en-US"/>
              <a:t>Copyright © 2019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404865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74D1AAF-D369-4DD1-852D-5D66A17C7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"/>
            <a:ext cx="11430000" cy="1343024"/>
          </a:xfrm>
        </p:spPr>
        <p:txBody>
          <a:bodyPr tIns="0" anchor="b" anchorCtr="0">
            <a:noAutofit/>
          </a:bodyPr>
          <a:lstStyle>
            <a:lvl1pPr>
              <a:lnSpc>
                <a:spcPct val="80000"/>
              </a:lnSpc>
              <a:defRPr sz="3200">
                <a:solidFill>
                  <a:srgbClr val="7E00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C34ABF8-6417-4266-85FB-7678EEDC229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0" y="1343025"/>
            <a:ext cx="11430000" cy="512445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Aft>
                <a:spcPts val="1000"/>
              </a:spcAft>
              <a:buFont typeface="Arial" panose="020B0604020202020204" pitchFamily="34" charset="0"/>
              <a:buNone/>
              <a:defRPr sz="1800" b="0" cap="none">
                <a:latin typeface="+mj-lt"/>
              </a:defRPr>
            </a:lvl1pPr>
            <a:lvl2pPr marL="161925" indent="-161925">
              <a:lnSpc>
                <a:spcPts val="2000"/>
              </a:lnSpc>
              <a:spcAft>
                <a:spcPts val="1000"/>
              </a:spcAft>
              <a:buFont typeface="Arial" panose="020B0604020202020204" pitchFamily="34" charset="0"/>
              <a:buChar char="•"/>
              <a:defRPr sz="1800" b="0">
                <a:latin typeface="+mn-lt"/>
              </a:defRPr>
            </a:lvl2pPr>
            <a:lvl3pPr marL="352425" indent="-161925">
              <a:lnSpc>
                <a:spcPts val="2000"/>
              </a:lnSpc>
              <a:spcAft>
                <a:spcPts val="1000"/>
              </a:spcAft>
              <a:buFontTx/>
              <a:buChar char="-"/>
              <a:defRPr sz="1800" b="0">
                <a:latin typeface="+mn-lt"/>
              </a:defRPr>
            </a:lvl3pPr>
            <a:lvl4pPr marL="581025" indent="-161925">
              <a:lnSpc>
                <a:spcPts val="2000"/>
              </a:lnSpc>
              <a:spcAft>
                <a:spcPts val="1000"/>
              </a:spcAft>
              <a:buFont typeface="Arial" panose="020B0604020202020204" pitchFamily="34" charset="0"/>
              <a:buChar char="•"/>
              <a:defRPr sz="1800" b="0">
                <a:latin typeface="+mn-lt"/>
              </a:defRPr>
            </a:lvl4pPr>
            <a:lvl5pPr marL="733425" indent="-161925">
              <a:lnSpc>
                <a:spcPts val="2000"/>
              </a:lnSpc>
              <a:spcAft>
                <a:spcPts val="1000"/>
              </a:spcAft>
              <a:buFontTx/>
              <a:buChar char="-"/>
              <a:defRPr sz="1800" b="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14718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1000" y="381001"/>
            <a:ext cx="11430000" cy="12954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Graphik" panose="020B0503030202060203" pitchFamily="34" charset="0"/>
                <a:sym typeface="Graphik" panose="020B0503030202060203" pitchFamily="34" charset="0"/>
              </a:defRPr>
            </a:lvl1pPr>
          </a:lstStyle>
          <a:p>
            <a:pPr defTabSz="1087106"/>
            <a:r>
              <a:rPr lang="en-US"/>
              <a:t>Copyright © 2019 Accenture All rights reserved.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CA03F2D7-2EF8-452B-B7E7-ECCBE598101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1808163"/>
            <a:ext cx="11430000" cy="435768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 1</a:t>
            </a:r>
          </a:p>
          <a:p>
            <a:pPr lvl="1"/>
            <a:r>
              <a:rPr lang="en-US"/>
              <a:t>Text 2</a:t>
            </a:r>
          </a:p>
          <a:p>
            <a:pPr lvl="2"/>
            <a:r>
              <a:rPr lang="en-US"/>
              <a:t>Text 3</a:t>
            </a:r>
          </a:p>
          <a:p>
            <a:pPr lvl="3"/>
            <a:r>
              <a:rPr lang="en-US"/>
              <a:t>Text 4</a:t>
            </a:r>
          </a:p>
          <a:p>
            <a:pPr lvl="4"/>
            <a:r>
              <a:rPr lang="en-US"/>
              <a:t>Text 5</a:t>
            </a:r>
          </a:p>
        </p:txBody>
      </p:sp>
    </p:spTree>
    <p:extLst>
      <p:ext uri="{BB962C8B-B14F-4D97-AF65-F5344CB8AC3E}">
        <p14:creationId xmlns:p14="http://schemas.microsoft.com/office/powerpoint/2010/main" val="3885993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81332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layout_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opyright ©2018 Accenture. All rights reserved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0" y="1943099"/>
            <a:ext cx="5536800" cy="414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274200" y="1943099"/>
            <a:ext cx="5536800" cy="414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451000" y="6525600"/>
            <a:ext cx="36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E1D7AC9-097A-C748-9CAF-08661848251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1094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18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54784624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336744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20080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18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090936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8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2717388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7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74125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81132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14009944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3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20"/>
            <a:ext cx="5378452" cy="69249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9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5630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0A3F6D8-7E11-4976-9BB3-E8259222C899}"/>
              </a:ext>
            </a:extLst>
          </p:cNvPr>
          <p:cNvGrpSpPr/>
          <p:nvPr userDrawn="1"/>
        </p:nvGrpSpPr>
        <p:grpSpPr>
          <a:xfrm>
            <a:off x="-4235" y="358985"/>
            <a:ext cx="4810411" cy="615947"/>
            <a:chOff x="-4235" y="358985"/>
            <a:chExt cx="2376987" cy="615947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83DB7C6-C6FD-4919-B2E9-59AD441478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4235" y="358985"/>
              <a:ext cx="2160000" cy="615947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DFF238E-7F6C-4E4D-ABDF-95E78500C919}"/>
                </a:ext>
              </a:extLst>
            </p:cNvPr>
            <p:cNvSpPr txBox="1"/>
            <p:nvPr userDrawn="1"/>
          </p:nvSpPr>
          <p:spPr>
            <a:xfrm>
              <a:off x="336233" y="412653"/>
              <a:ext cx="2036519" cy="461665"/>
            </a:xfrm>
            <a:prstGeom prst="rect">
              <a:avLst/>
            </a:prstGeom>
            <a:solidFill>
              <a:srgbClr val="00148C"/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400">
                  <a:solidFill>
                    <a:schemeClr val="bg1"/>
                  </a:solidFill>
                </a:rPr>
                <a:t>Workforce Data Domain</a:t>
              </a: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0498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3429" y="659955"/>
            <a:ext cx="7480679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3429" y="2138106"/>
            <a:ext cx="7480679" cy="42341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33426" y="283369"/>
            <a:ext cx="5656085" cy="273051"/>
          </a:xfrm>
          <a:prstGeom prst="rect">
            <a:avLst/>
          </a:prstGeom>
        </p:spPr>
        <p:txBody>
          <a:bodyPr/>
          <a:lstStyle/>
          <a:p>
            <a:r>
              <a:rPr lang="en-GB"/>
              <a:t>Presentation info in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61521-EF7F-456B-A25F-4EAD8E019C37}" type="slidenum">
              <a:rPr lang="en-GB" smtClean="0"/>
              <a:t>‹#›</a:t>
            </a:fld>
            <a:endParaRPr lang="en-GB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8689181" y="659956"/>
            <a:ext cx="3502819" cy="5712272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362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8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03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86549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1.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565ED8D5-F7BD-D244-8E89-518DAA5C7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H="1">
            <a:off x="11617001" y="6537474"/>
            <a:ext cx="216084" cy="161888"/>
          </a:xfrm>
        </p:spPr>
        <p:txBody>
          <a:bodyPr/>
          <a:lstStyle>
            <a:lvl1pPr>
              <a:defRPr>
                <a:latin typeface="Graphik" panose="020B0503030202060203" pitchFamily="34" charset="77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C17F5D-75B4-214F-897A-1071EDD4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171" y="296863"/>
            <a:ext cx="7326592" cy="1501938"/>
          </a:xfrm>
        </p:spPr>
        <p:txBody>
          <a:bodyPr vert="horz" wrap="square" lIns="0" tIns="0" rIns="0" bIns="0" rtlCol="0"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Font typeface="Arial" pitchFamily="34" charset="0"/>
              <a:buNone/>
              <a:defRPr lang="en-US" b="0" i="0">
                <a:ea typeface="Roboto" panose="02000000000000000000" pitchFamily="2" charset="0"/>
              </a:defRPr>
            </a:lvl1pPr>
          </a:lstStyle>
          <a:p>
            <a:pPr marL="0" lvl="0" indent="0">
              <a:spcBef>
                <a:spcPts val="0"/>
              </a:spcBef>
              <a:buFont typeface="Arial" pitchFamily="34" charset="0"/>
              <a:buNone/>
            </a:pPr>
            <a:r>
              <a:rPr lang="en-US"/>
              <a:t>INSERT MAIN TITLE </a:t>
            </a:r>
            <a:br>
              <a:rPr lang="en-US"/>
            </a:br>
            <a:r>
              <a:rPr lang="en-US"/>
              <a:t>AT 36PT MIN 30PT</a:t>
            </a:r>
          </a:p>
        </p:txBody>
      </p:sp>
    </p:spTree>
    <p:extLst>
      <p:ext uri="{BB962C8B-B14F-4D97-AF65-F5344CB8AC3E}">
        <p14:creationId xmlns:p14="http://schemas.microsoft.com/office/powerpoint/2010/main" val="492108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alesforce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0BFE47-6CFE-4CBB-B737-CC355956E9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5300" y="321734"/>
            <a:ext cx="11201400" cy="2709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2600"/>
              </a:lnSpc>
              <a:buNone/>
              <a:defRPr sz="3000" b="1" i="0">
                <a:solidFill>
                  <a:schemeClr val="tx1"/>
                </a:solidFill>
                <a:latin typeface="Graphik Black" panose="020B0503030202060203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4C9ED41-7CDA-4409-BBD3-EEE10804BF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5300" y="733604"/>
            <a:ext cx="11201400" cy="5759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700"/>
              </a:lnSpc>
              <a:buNone/>
              <a:defRPr sz="1500">
                <a:solidFill>
                  <a:schemeClr val="tx1"/>
                </a:solidFill>
                <a:latin typeface="Graphik" panose="020B0503030202060203" pitchFamily="34" charset="77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4114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0362413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22494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18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48534706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8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576636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7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1955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995735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99567620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3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20"/>
            <a:ext cx="5378452" cy="69249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9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4259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flipV="1">
            <a:off x="5334000" y="1856147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70086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972A00B0-5109-4795-B6DD-671C71DA144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1149680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8" y="3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endParaRPr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endParaRPr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4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1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74902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2091BDE-8D32-45BA-8B05-DD4216B1638A}"/>
              </a:ext>
            </a:extLst>
          </p:cNvPr>
          <p:cNvGrpSpPr/>
          <p:nvPr userDrawn="1"/>
        </p:nvGrpSpPr>
        <p:grpSpPr bwMode="black">
          <a:xfrm>
            <a:off x="2806708" y="2909035"/>
            <a:ext cx="6578600" cy="1039932"/>
            <a:chOff x="2910342" y="325575"/>
            <a:chExt cx="5928968" cy="124965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A57378A6-C5A9-4A2C-B31B-EA15D5A0FE13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E02F4F1-BC64-4B71-9E4E-AFA3BA5D9284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17A2B2C-D6F2-4479-9425-86B568230B87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011773E-597C-481D-B648-114EC7522986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28185BD-C34B-4E50-90A0-42A4AABFD6F8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469029C-5A60-4376-BC7D-F118160FFE0E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08901CA-EBBA-48C9-A455-39FED58F1C74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3D44C5A-5300-472D-9CB9-D76132F9DEE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3A8FA55-DAA9-461E-9FED-A9A1B659EA7A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4610353-9575-4653-839D-B8325BE73337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21885C5-7DDB-4A16-922D-087FA03AE3A9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0B5B5E7-4134-45F5-B9B2-F95F687266C2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831FF1B-C914-46E6-BBAB-45FCEF2DDEC6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338027-A927-4C3D-AF95-4646D340421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04EA4F8-DD37-473D-9F06-72E6DF74F66B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6486B9F-0ACD-42EC-8AD3-D7C9EE2BF62A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A96A062-93F0-4915-9B7C-6CB09526FC4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F5C7FBC-AB52-40CB-921A-5ACB3377FDD1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81DC520-5E27-419C-8EC0-F520CA9211F2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buClr>
                  <a:srgbClr val="55555A"/>
                </a:buClr>
              </a:pPr>
              <a:endParaRPr lang="en-GB" sz="1800">
                <a:solidFill>
                  <a:srgbClr val="00148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653412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1" y="1828802"/>
            <a:ext cx="8572500" cy="4689475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0999" y="380999"/>
            <a:ext cx="11204643" cy="9906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19 Accenture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1929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2365980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03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5704882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18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7736497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8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03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/>
        </p:nvSpPr>
        <p:spPr>
          <a:xfrm>
            <a:off x="12275233" y="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7034988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flipV="1">
            <a:off x="5334000" y="1856147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96296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4848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224266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382891786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972A00B0-5109-4795-B6DD-671C71DA144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/>
          </a:p>
        </p:txBody>
      </p:sp>
      <p:sp>
        <p:nvSpPr>
          <p:cNvPr id="7" name="Round Diagonal Corner Rectangle 4">
            <a:extLst>
              <a:ext uri="{FF2B5EF4-FFF2-40B4-BE49-F238E27FC236}">
                <a16:creationId xmlns:a16="http://schemas.microsoft.com/office/drawing/2014/main" id="{231B8D91-3113-4251-BBA5-C25AE54B04E5}"/>
              </a:ext>
            </a:extLst>
          </p:cNvPr>
          <p:cNvSpPr/>
          <p:nvPr/>
        </p:nvSpPr>
        <p:spPr>
          <a:xfrm>
            <a:off x="12275236" y="2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027753959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0A3F6D8-7E11-4976-9BB3-E8259222C899}"/>
              </a:ext>
            </a:extLst>
          </p:cNvPr>
          <p:cNvGrpSpPr/>
          <p:nvPr/>
        </p:nvGrpSpPr>
        <p:grpSpPr>
          <a:xfrm>
            <a:off x="-4235" y="358985"/>
            <a:ext cx="2376987" cy="615947"/>
            <a:chOff x="-4235" y="358985"/>
            <a:chExt cx="2376987" cy="615947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83DB7C6-C6FD-4919-B2E9-59AD441478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235" y="358985"/>
              <a:ext cx="2160000" cy="615947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DFF238E-7F6C-4E4D-ABDF-95E78500C919}"/>
                </a:ext>
              </a:extLst>
            </p:cNvPr>
            <p:cNvSpPr txBox="1"/>
            <p:nvPr userDrawn="1"/>
          </p:nvSpPr>
          <p:spPr>
            <a:xfrm>
              <a:off x="336233" y="412653"/>
              <a:ext cx="2036519" cy="461665"/>
            </a:xfrm>
            <a:prstGeom prst="rect">
              <a:avLst/>
            </a:prstGeom>
            <a:solidFill>
              <a:srgbClr val="00148C"/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myHR 2.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51516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Content -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03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0900"/>
          <a:stretch/>
        </p:blipFill>
        <p:spPr>
          <a:xfrm>
            <a:off x="1905000" y="0"/>
            <a:ext cx="10287000" cy="6858000"/>
          </a:xfrm>
          <a:prstGeom prst="rect">
            <a:avLst/>
          </a:prstGeom>
        </p:spPr>
      </p:pic>
      <p:sp>
        <p:nvSpPr>
          <p:cNvPr id="28" name="Freeform 15"/>
          <p:cNvSpPr>
            <a:spLocks/>
          </p:cNvSpPr>
          <p:nvPr/>
        </p:nvSpPr>
        <p:spPr bwMode="auto">
          <a:xfrm>
            <a:off x="0" y="0"/>
            <a:ext cx="9882873" cy="6866229"/>
          </a:xfrm>
          <a:custGeom>
            <a:avLst/>
            <a:gdLst>
              <a:gd name="T0" fmla="*/ 0 w 5765"/>
              <a:gd name="T1" fmla="*/ 0 h 3240"/>
              <a:gd name="T2" fmla="*/ 0 w 5765"/>
              <a:gd name="T3" fmla="*/ 3240 h 3240"/>
              <a:gd name="T4" fmla="*/ 4669 w 5765"/>
              <a:gd name="T5" fmla="*/ 3240 h 3240"/>
              <a:gd name="T6" fmla="*/ 2490 w 5765"/>
              <a:gd name="T7" fmla="*/ 1062 h 3240"/>
              <a:gd name="T8" fmla="*/ 3551 w 5765"/>
              <a:gd name="T9" fmla="*/ 0 h 3240"/>
              <a:gd name="T10" fmla="*/ 5765 w 5765"/>
              <a:gd name="T11" fmla="*/ 0 h 3240"/>
              <a:gd name="T12" fmla="*/ 5765 w 5765"/>
              <a:gd name="T13" fmla="*/ 0 h 3240"/>
              <a:gd name="T14" fmla="*/ 0 w 5765"/>
              <a:gd name="T15" fmla="*/ 0 h 3240"/>
              <a:gd name="connsiteX0" fmla="*/ 0 w 10000"/>
              <a:gd name="connsiteY0" fmla="*/ 1481 h 11481"/>
              <a:gd name="connsiteX1" fmla="*/ 0 w 10000"/>
              <a:gd name="connsiteY1" fmla="*/ 11481 h 11481"/>
              <a:gd name="connsiteX2" fmla="*/ 8099 w 10000"/>
              <a:gd name="connsiteY2" fmla="*/ 11481 h 11481"/>
              <a:gd name="connsiteX3" fmla="*/ 4319 w 10000"/>
              <a:gd name="connsiteY3" fmla="*/ 4759 h 11481"/>
              <a:gd name="connsiteX4" fmla="*/ 6160 w 10000"/>
              <a:gd name="connsiteY4" fmla="*/ 1481 h 11481"/>
              <a:gd name="connsiteX5" fmla="*/ 10000 w 10000"/>
              <a:gd name="connsiteY5" fmla="*/ 1481 h 11481"/>
              <a:gd name="connsiteX6" fmla="*/ 9271 w 10000"/>
              <a:gd name="connsiteY6" fmla="*/ 0 h 11481"/>
              <a:gd name="connsiteX7" fmla="*/ 0 w 10000"/>
              <a:gd name="connsiteY7" fmla="*/ 1481 h 11481"/>
              <a:gd name="connsiteX0" fmla="*/ 0 w 10000"/>
              <a:gd name="connsiteY0" fmla="*/ 12 h 10012"/>
              <a:gd name="connsiteX1" fmla="*/ 0 w 10000"/>
              <a:gd name="connsiteY1" fmla="*/ 10012 h 10012"/>
              <a:gd name="connsiteX2" fmla="*/ 8099 w 10000"/>
              <a:gd name="connsiteY2" fmla="*/ 10012 h 10012"/>
              <a:gd name="connsiteX3" fmla="*/ 4319 w 10000"/>
              <a:gd name="connsiteY3" fmla="*/ 3290 h 10012"/>
              <a:gd name="connsiteX4" fmla="*/ 6160 w 10000"/>
              <a:gd name="connsiteY4" fmla="*/ 12 h 10012"/>
              <a:gd name="connsiteX5" fmla="*/ 10000 w 10000"/>
              <a:gd name="connsiteY5" fmla="*/ 12 h 10012"/>
              <a:gd name="connsiteX6" fmla="*/ 6176 w 10000"/>
              <a:gd name="connsiteY6" fmla="*/ 0 h 10012"/>
              <a:gd name="connsiteX7" fmla="*/ 0 w 10000"/>
              <a:gd name="connsiteY7" fmla="*/ 12 h 10012"/>
              <a:gd name="connsiteX0" fmla="*/ 0 w 8099"/>
              <a:gd name="connsiteY0" fmla="*/ 12 h 10012"/>
              <a:gd name="connsiteX1" fmla="*/ 0 w 8099"/>
              <a:gd name="connsiteY1" fmla="*/ 10012 h 10012"/>
              <a:gd name="connsiteX2" fmla="*/ 8099 w 8099"/>
              <a:gd name="connsiteY2" fmla="*/ 10012 h 10012"/>
              <a:gd name="connsiteX3" fmla="*/ 4319 w 8099"/>
              <a:gd name="connsiteY3" fmla="*/ 3290 h 10012"/>
              <a:gd name="connsiteX4" fmla="*/ 6160 w 8099"/>
              <a:gd name="connsiteY4" fmla="*/ 12 h 10012"/>
              <a:gd name="connsiteX5" fmla="*/ 6163 w 8099"/>
              <a:gd name="connsiteY5" fmla="*/ 12 h 10012"/>
              <a:gd name="connsiteX6" fmla="*/ 6176 w 8099"/>
              <a:gd name="connsiteY6" fmla="*/ 0 h 10012"/>
              <a:gd name="connsiteX7" fmla="*/ 0 w 8099"/>
              <a:gd name="connsiteY7" fmla="*/ 12 h 1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99" h="10012">
                <a:moveTo>
                  <a:pt x="0" y="12"/>
                </a:moveTo>
                <a:lnTo>
                  <a:pt x="0" y="10012"/>
                </a:lnTo>
                <a:lnTo>
                  <a:pt x="8099" y="10012"/>
                </a:lnTo>
                <a:lnTo>
                  <a:pt x="4319" y="3290"/>
                </a:lnTo>
                <a:lnTo>
                  <a:pt x="6160" y="12"/>
                </a:lnTo>
                <a:lnTo>
                  <a:pt x="6163" y="12"/>
                </a:lnTo>
                <a:cubicBezTo>
                  <a:pt x="6167" y="8"/>
                  <a:pt x="6172" y="4"/>
                  <a:pt x="6176" y="0"/>
                </a:cubicBezTo>
                <a:lnTo>
                  <a:pt x="0" y="12"/>
                </a:lnTo>
                <a:close/>
              </a:path>
            </a:pathLst>
          </a:custGeom>
          <a:solidFill>
            <a:srgbClr val="00148C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2400"/>
          </a:p>
        </p:txBody>
      </p:sp>
      <p:grpSp>
        <p:nvGrpSpPr>
          <p:cNvPr id="12" name="Group 8"/>
          <p:cNvGrpSpPr>
            <a:grpSpLocks noChangeAspect="1"/>
          </p:cNvGrpSpPr>
          <p:nvPr/>
        </p:nvGrpSpPr>
        <p:grpSpPr bwMode="auto">
          <a:xfrm>
            <a:off x="4889502" y="0"/>
            <a:ext cx="4764617" cy="6858000"/>
            <a:chOff x="2310" y="0"/>
            <a:chExt cx="2251" cy="3240"/>
          </a:xfrm>
        </p:grpSpPr>
        <p:sp>
          <p:nvSpPr>
            <p:cNvPr id="20" name="AutoShape 7"/>
            <p:cNvSpPr>
              <a:spLocks noChangeAspect="1" noChangeArrowheads="1" noTextEdit="1"/>
            </p:cNvSpPr>
            <p:nvPr userDrawn="1"/>
          </p:nvSpPr>
          <p:spPr bwMode="auto">
            <a:xfrm>
              <a:off x="2310" y="0"/>
              <a:ext cx="2251" cy="3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auto">
            <a:xfrm>
              <a:off x="3613" y="2344"/>
              <a:ext cx="950" cy="898"/>
            </a:xfrm>
            <a:custGeom>
              <a:avLst/>
              <a:gdLst>
                <a:gd name="T0" fmla="*/ 950 w 950"/>
                <a:gd name="T1" fmla="*/ 896 h 898"/>
                <a:gd name="T2" fmla="*/ 54 w 950"/>
                <a:gd name="T3" fmla="*/ 0 h 898"/>
                <a:gd name="T4" fmla="*/ 0 w 950"/>
                <a:gd name="T5" fmla="*/ 54 h 898"/>
                <a:gd name="T6" fmla="*/ 844 w 950"/>
                <a:gd name="T7" fmla="*/ 898 h 898"/>
                <a:gd name="T8" fmla="*/ 950 w 950"/>
                <a:gd name="T9" fmla="*/ 896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0" h="898">
                  <a:moveTo>
                    <a:pt x="950" y="896"/>
                  </a:moveTo>
                  <a:lnTo>
                    <a:pt x="54" y="0"/>
                  </a:lnTo>
                  <a:lnTo>
                    <a:pt x="0" y="54"/>
                  </a:lnTo>
                  <a:lnTo>
                    <a:pt x="844" y="898"/>
                  </a:lnTo>
                  <a:lnTo>
                    <a:pt x="950" y="896"/>
                  </a:lnTo>
                  <a:close/>
                </a:path>
              </a:pathLst>
            </a:custGeom>
            <a:solidFill>
              <a:srgbClr val="FAE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2310" y="1042"/>
              <a:ext cx="1357" cy="1356"/>
            </a:xfrm>
            <a:custGeom>
              <a:avLst/>
              <a:gdLst>
                <a:gd name="T0" fmla="*/ 18 w 1357"/>
                <a:gd name="T1" fmla="*/ 0 h 1356"/>
                <a:gd name="T2" fmla="*/ 1357 w 1357"/>
                <a:gd name="T3" fmla="*/ 1338 h 1356"/>
                <a:gd name="T4" fmla="*/ 1339 w 1357"/>
                <a:gd name="T5" fmla="*/ 1356 h 1356"/>
                <a:gd name="T6" fmla="*/ 0 w 1357"/>
                <a:gd name="T7" fmla="*/ 18 h 1356"/>
                <a:gd name="T8" fmla="*/ 18 w 1357"/>
                <a:gd name="T9" fmla="*/ 0 h 1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7" h="1356">
                  <a:moveTo>
                    <a:pt x="18" y="0"/>
                  </a:moveTo>
                  <a:lnTo>
                    <a:pt x="1357" y="1338"/>
                  </a:lnTo>
                  <a:lnTo>
                    <a:pt x="1339" y="1356"/>
                  </a:lnTo>
                  <a:lnTo>
                    <a:pt x="0" y="18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FAE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2308" y="0"/>
              <a:ext cx="1093" cy="1074"/>
            </a:xfrm>
            <a:custGeom>
              <a:avLst/>
              <a:gdLst>
                <a:gd name="T0" fmla="*/ 1093 w 1093"/>
                <a:gd name="T1" fmla="*/ 0 h 1074"/>
                <a:gd name="T2" fmla="*/ 1058 w 1093"/>
                <a:gd name="T3" fmla="*/ 0 h 1074"/>
                <a:gd name="T4" fmla="*/ 0 w 1093"/>
                <a:gd name="T5" fmla="*/ 1056 h 1074"/>
                <a:gd name="T6" fmla="*/ 18 w 1093"/>
                <a:gd name="T7" fmla="*/ 1074 h 1074"/>
                <a:gd name="T8" fmla="*/ 1093 w 1093"/>
                <a:gd name="T9" fmla="*/ 0 h 1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3" h="1074">
                  <a:moveTo>
                    <a:pt x="1093" y="0"/>
                  </a:moveTo>
                  <a:lnTo>
                    <a:pt x="1058" y="0"/>
                  </a:lnTo>
                  <a:lnTo>
                    <a:pt x="0" y="1056"/>
                  </a:lnTo>
                  <a:lnTo>
                    <a:pt x="18" y="1074"/>
                  </a:lnTo>
                  <a:lnTo>
                    <a:pt x="1093" y="0"/>
                  </a:lnTo>
                  <a:close/>
                </a:path>
              </a:pathLst>
            </a:custGeom>
            <a:solidFill>
              <a:srgbClr val="FAE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  <p:pic>
        <p:nvPicPr>
          <p:cNvPr id="1038" name="Picture 103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769" y="6178770"/>
            <a:ext cx="1857600" cy="383977"/>
          </a:xfrm>
          <a:prstGeom prst="rect">
            <a:avLst/>
          </a:prstGeom>
        </p:spPr>
      </p:pic>
      <p:sp>
        <p:nvSpPr>
          <p:cNvPr id="11" name="Slide Number Placeholder 5"/>
          <p:cNvSpPr txBox="1">
            <a:spLocks/>
          </p:cNvSpPr>
          <p:nvPr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911" y="4496531"/>
            <a:ext cx="4800000" cy="535527"/>
          </a:xfrm>
          <a:noFill/>
          <a:ln>
            <a:noFill/>
          </a:ln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  <a:spAutoFit/>
          </a:bodyPr>
          <a:lstStyle>
            <a:lvl1pPr marL="342882" indent="-342882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en-GB" sz="3200" b="1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/>
              <a:t>Click to edit text</a:t>
            </a:r>
            <a:endParaRPr lang="en-GB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13911" y="5080499"/>
            <a:ext cx="4800000" cy="424728"/>
          </a:xfrm>
          <a:noFill/>
          <a:ln>
            <a:noFill/>
          </a:ln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  <a:spAutoFit/>
          </a:bodyPr>
          <a:lstStyle>
            <a:lvl1pPr marL="285737" indent="-28573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en-GB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r>
              <a:rPr lang="en-US"/>
              <a:t>Click to edit text</a:t>
            </a:r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18756" y="3042583"/>
            <a:ext cx="4800000" cy="1436285"/>
          </a:xfrm>
        </p:spPr>
        <p:txBody>
          <a:bodyPr anchor="t" anchorCtr="0"/>
          <a:lstStyle>
            <a:lvl1pPr>
              <a:defRPr sz="4267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7747FAF-04D9-45AC-9B3C-192998C4B769}"/>
              </a:ext>
            </a:extLst>
          </p:cNvPr>
          <p:cNvGrpSpPr/>
          <p:nvPr/>
        </p:nvGrpSpPr>
        <p:grpSpPr>
          <a:xfrm>
            <a:off x="-4235" y="358985"/>
            <a:ext cx="2376987" cy="615947"/>
            <a:chOff x="-4235" y="358985"/>
            <a:chExt cx="2376987" cy="615947"/>
          </a:xfrm>
        </p:grpSpPr>
        <p:pic>
          <p:nvPicPr>
            <p:cNvPr id="25" name="Picture 24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235" y="358985"/>
              <a:ext cx="2160000" cy="615947"/>
            </a:xfrm>
            <a:prstGeom prst="rect">
              <a:avLst/>
            </a:prstGeom>
          </p:spPr>
        </p:pic>
        <p:sp>
          <p:nvSpPr>
            <p:cNvPr id="24" name="TextBox 23"/>
            <p:cNvSpPr txBox="1"/>
            <p:nvPr userDrawn="1"/>
          </p:nvSpPr>
          <p:spPr>
            <a:xfrm>
              <a:off x="336233" y="412653"/>
              <a:ext cx="2036519" cy="461665"/>
            </a:xfrm>
            <a:prstGeom prst="rect">
              <a:avLst/>
            </a:prstGeom>
            <a:solidFill>
              <a:srgbClr val="00148C"/>
            </a:solidFill>
          </p:spPr>
          <p:txBody>
            <a:bodyPr wrap="square" rtlCol="0">
              <a:spAutoFit/>
            </a:bodyPr>
            <a:lstStyle/>
            <a:p>
              <a:pPr marL="0" marR="0" lvl="0" indent="0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myHR 2.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690959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344">
          <p15:clr>
            <a:srgbClr val="FBAE40"/>
          </p15:clr>
        </p15:guide>
        <p15:guide id="4" pos="5488">
          <p15:clr>
            <a:srgbClr val="FBAE40"/>
          </p15:clr>
        </p15:guide>
        <p15:guide id="5" pos="2880">
          <p15:clr>
            <a:srgbClr val="FBAE40"/>
          </p15:clr>
        </p15:guide>
        <p15:guide id="6" pos="4241">
          <p15:clr>
            <a:srgbClr val="FBAE40"/>
          </p15:clr>
        </p15:guide>
        <p15:guide id="7" orient="horz" pos="201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75461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250299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829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2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00" b="1" i="0">
                <a:solidFill>
                  <a:srgbClr val="00138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653" y="6572250"/>
            <a:ext cx="1202788" cy="115416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sz="1150" b="1" i="0">
                <a:solidFill>
                  <a:srgbClr val="00138B"/>
                </a:solidFill>
                <a:latin typeface="Arial"/>
                <a:cs typeface="Arial"/>
              </a:defRPr>
            </a:lvl1pPr>
          </a:lstStyle>
          <a:p>
            <a:pPr>
              <a:spcBef>
                <a:spcPts val="705"/>
              </a:spcBef>
            </a:pPr>
            <a:r>
              <a:rPr lang="en-US" sz="750" b="0" spc="-5">
                <a:solidFill>
                  <a:srgbClr val="54545A"/>
                </a:solidFill>
              </a:rPr>
              <a:t>For </a:t>
            </a:r>
            <a:r>
              <a:rPr lang="en-US" sz="750" b="0">
                <a:solidFill>
                  <a:srgbClr val="54545A"/>
                </a:solidFill>
              </a:rPr>
              <a:t>Internal Use</a:t>
            </a:r>
            <a:r>
              <a:rPr lang="en-US" sz="750" b="0" spc="-15">
                <a:solidFill>
                  <a:srgbClr val="54545A"/>
                </a:solidFill>
              </a:rPr>
              <a:t> </a:t>
            </a:r>
            <a:r>
              <a:rPr lang="en-US" sz="750" b="0">
                <a:solidFill>
                  <a:srgbClr val="54545A"/>
                </a:solidFill>
              </a:rPr>
              <a:t>Only</a:t>
            </a:r>
            <a:endParaRPr lang="en-US" sz="75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24565" y="6572251"/>
            <a:ext cx="268849" cy="13849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="0" i="0">
                <a:solidFill>
                  <a:srgbClr val="00138B"/>
                </a:solidFill>
                <a:latin typeface="Arial"/>
                <a:cs typeface="Arial"/>
              </a:defRPr>
            </a:lvl1pPr>
          </a:lstStyle>
          <a:p>
            <a:pPr marL="25400">
              <a:spcBef>
                <a:spcPts val="25"/>
              </a:spcBef>
            </a:pPr>
            <a:fld id="{81D60167-4931-47E6-BA6A-407CBD079E47}" type="slidenum">
              <a:rPr lang="en-US" spc="20" smtClean="0"/>
              <a:pPr marL="25400">
                <a:spcBef>
                  <a:spcPts val="25"/>
                </a:spcBef>
              </a:pPr>
              <a:t>‹#›</a:t>
            </a:fld>
            <a:endParaRPr lang="en-US" spc="20"/>
          </a:p>
        </p:txBody>
      </p:sp>
    </p:spTree>
    <p:extLst>
      <p:ext uri="{BB962C8B-B14F-4D97-AF65-F5344CB8AC3E}">
        <p14:creationId xmlns:p14="http://schemas.microsoft.com/office/powerpoint/2010/main" val="1059431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 -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471" y="531203"/>
            <a:ext cx="11116476" cy="66678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387523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353370844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3" y="141183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3" y="3467420"/>
            <a:ext cx="5378452" cy="69249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9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5039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972A00B0-5109-4795-B6DD-671C71DA144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/>
          </a:p>
        </p:txBody>
      </p:sp>
      <p:sp>
        <p:nvSpPr>
          <p:cNvPr id="7" name="Round Diagonal Corner Rectangle 4">
            <a:extLst>
              <a:ext uri="{FF2B5EF4-FFF2-40B4-BE49-F238E27FC236}">
                <a16:creationId xmlns:a16="http://schemas.microsoft.com/office/drawing/2014/main" id="{231B8D91-3113-4251-BBA5-C25AE54B04E5}"/>
              </a:ext>
            </a:extLst>
          </p:cNvPr>
          <p:cNvSpPr/>
          <p:nvPr userDrawn="1"/>
        </p:nvSpPr>
        <p:spPr>
          <a:xfrm>
            <a:off x="12275236" y="2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619841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image" Target="../media/image8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2" y="6320503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</a:t>
            </a:r>
            <a:r>
              <a:rPr lang="fr-FR" sz="1467" b="1" err="1"/>
              <a:t>Grid</a:t>
            </a:r>
            <a:r>
              <a:rPr lang="fr-FR" sz="1467" b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90958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2" r:id="rId10"/>
    <p:sldLayoutId id="2147483673" r:id="rId11"/>
    <p:sldLayoutId id="2147483674" r:id="rId12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425" imgH="426" progId="TCLayout.ActiveDocument.1">
                  <p:embed/>
                </p:oleObj>
              </mc:Choice>
              <mc:Fallback>
                <p:oleObj name="think-cell Folie" r:id="rId21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D46ED98-0623-47E6-9825-23D46E43767A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1295401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763713"/>
            <a:ext cx="11430000" cy="4686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 1</a:t>
            </a:r>
          </a:p>
          <a:p>
            <a:pPr lvl="1"/>
            <a:r>
              <a:rPr lang="en-US"/>
              <a:t>Text 2</a:t>
            </a:r>
          </a:p>
          <a:p>
            <a:pPr lvl="2"/>
            <a:r>
              <a:rPr lang="en-US"/>
              <a:t>Text 3</a:t>
            </a:r>
          </a:p>
          <a:p>
            <a:pPr lvl="3"/>
            <a:r>
              <a:rPr lang="en-US"/>
              <a:t>Text 4</a:t>
            </a:r>
          </a:p>
          <a:p>
            <a:pPr lvl="4"/>
            <a:r>
              <a:rPr lang="en-US"/>
              <a:t>Text 5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19" y="6381686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lang="en-AU" sz="900" b="0" i="0">
                <a:solidFill>
                  <a:schemeClr val="tx2"/>
                </a:solidFill>
              </a:defRPr>
            </a:lvl1pPr>
          </a:lstStyle>
          <a:p>
            <a:pPr defTabSz="1087106"/>
            <a:r>
              <a:rPr lang="en-US">
                <a:solidFill>
                  <a:srgbClr val="919191"/>
                </a:solidFill>
              </a:rPr>
              <a:t>Copyright © 2019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04173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0" kern="1200" cap="all" spc="-1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0" kern="1200" cap="all" baseline="0">
          <a:solidFill>
            <a:schemeClr val="accent3"/>
          </a:solidFill>
          <a:latin typeface="+mj-lt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7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10991" y="197740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2" y="6320503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991320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 cap="all" spc="-100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10990" y="197740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3150546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 kern="0" cap="all" spc="-100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2" y="6320503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</a:t>
            </a:r>
            <a:r>
              <a:rPr lang="fr-FR" sz="1467" b="1" err="1"/>
              <a:t>Grid</a:t>
            </a:r>
            <a:r>
              <a:rPr lang="fr-FR" sz="1467" b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12067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29.png"/><Relationship Id="rId18" Type="http://schemas.openxmlformats.org/officeDocument/2006/relationships/image" Target="../media/image34.svg"/><Relationship Id="rId3" Type="http://schemas.openxmlformats.org/officeDocument/2006/relationships/image" Target="../media/image19.png"/><Relationship Id="rId21" Type="http://schemas.openxmlformats.org/officeDocument/2006/relationships/hyperlink" Target="https://nationalgridplc.sharepoint.com/:x:/r/sites/GRP-EXT-UK-MyHub2/Shared%20Documents/09%20-%20Tracking/Decision%20Log%20V2.xlsx?d=w3550ea7149344e82bb9a68d9f71bf3d1&amp;csf=1&amp;web=1&amp;e=mI0Obe" TargetMode="External"/><Relationship Id="rId7" Type="http://schemas.openxmlformats.org/officeDocument/2006/relationships/image" Target="../media/image23.png"/><Relationship Id="rId12" Type="http://schemas.openxmlformats.org/officeDocument/2006/relationships/image" Target="../media/image28.svg"/><Relationship Id="rId17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2.svg"/><Relationship Id="rId20" Type="http://schemas.openxmlformats.org/officeDocument/2006/relationships/image" Target="../media/image36.svg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22.sv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10" Type="http://schemas.openxmlformats.org/officeDocument/2006/relationships/image" Target="../media/image26.svg"/><Relationship Id="rId19" Type="http://schemas.openxmlformats.org/officeDocument/2006/relationships/image" Target="../media/image35.png"/><Relationship Id="rId4" Type="http://schemas.openxmlformats.org/officeDocument/2006/relationships/image" Target="../media/image20.svg"/><Relationship Id="rId9" Type="http://schemas.openxmlformats.org/officeDocument/2006/relationships/image" Target="../media/image25.png"/><Relationship Id="rId14" Type="http://schemas.openxmlformats.org/officeDocument/2006/relationships/image" Target="../media/image30.svg"/><Relationship Id="rId22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07FC24B-A01F-4830-A9A0-EB65555DF3F1}"/>
              </a:ext>
            </a:extLst>
          </p:cNvPr>
          <p:cNvCxnSpPr/>
          <p:nvPr/>
        </p:nvCxnSpPr>
        <p:spPr bwMode="auto">
          <a:xfrm>
            <a:off x="301509" y="3092522"/>
            <a:ext cx="1161351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299C7DF8-4DBE-48F9-BCB2-5F5E18DBC54A}"/>
              </a:ext>
            </a:extLst>
          </p:cNvPr>
          <p:cNvSpPr/>
          <p:nvPr/>
        </p:nvSpPr>
        <p:spPr bwMode="auto">
          <a:xfrm>
            <a:off x="5866983" y="2938375"/>
            <a:ext cx="698204" cy="28715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44D3F25-434C-4F0B-AEDF-804A579DC736}"/>
              </a:ext>
            </a:extLst>
          </p:cNvPr>
          <p:cNvGraphicFramePr>
            <a:graphicFrameLocks noGrp="1"/>
          </p:cNvGraphicFramePr>
          <p:nvPr/>
        </p:nvGraphicFramePr>
        <p:xfrm>
          <a:off x="301509" y="1376856"/>
          <a:ext cx="11751156" cy="5185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7795">
                  <a:extLst>
                    <a:ext uri="{9D8B030D-6E8A-4147-A177-3AD203B41FA5}">
                      <a16:colId xmlns:a16="http://schemas.microsoft.com/office/drawing/2014/main" val="2913713066"/>
                    </a:ext>
                  </a:extLst>
                </a:gridCol>
                <a:gridCol w="1677795">
                  <a:extLst>
                    <a:ext uri="{9D8B030D-6E8A-4147-A177-3AD203B41FA5}">
                      <a16:colId xmlns:a16="http://schemas.microsoft.com/office/drawing/2014/main" val="1045212581"/>
                    </a:ext>
                  </a:extLst>
                </a:gridCol>
                <a:gridCol w="1677795">
                  <a:extLst>
                    <a:ext uri="{9D8B030D-6E8A-4147-A177-3AD203B41FA5}">
                      <a16:colId xmlns:a16="http://schemas.microsoft.com/office/drawing/2014/main" val="3410418513"/>
                    </a:ext>
                  </a:extLst>
                </a:gridCol>
                <a:gridCol w="1684386">
                  <a:extLst>
                    <a:ext uri="{9D8B030D-6E8A-4147-A177-3AD203B41FA5}">
                      <a16:colId xmlns:a16="http://schemas.microsoft.com/office/drawing/2014/main" val="326695080"/>
                    </a:ext>
                  </a:extLst>
                </a:gridCol>
                <a:gridCol w="1677795">
                  <a:extLst>
                    <a:ext uri="{9D8B030D-6E8A-4147-A177-3AD203B41FA5}">
                      <a16:colId xmlns:a16="http://schemas.microsoft.com/office/drawing/2014/main" val="1657400777"/>
                    </a:ext>
                  </a:extLst>
                </a:gridCol>
                <a:gridCol w="1677795">
                  <a:extLst>
                    <a:ext uri="{9D8B030D-6E8A-4147-A177-3AD203B41FA5}">
                      <a16:colId xmlns:a16="http://schemas.microsoft.com/office/drawing/2014/main" val="3105088871"/>
                    </a:ext>
                  </a:extLst>
                </a:gridCol>
                <a:gridCol w="1677795">
                  <a:extLst>
                    <a:ext uri="{9D8B030D-6E8A-4147-A177-3AD203B41FA5}">
                      <a16:colId xmlns:a16="http://schemas.microsoft.com/office/drawing/2014/main" val="4292937710"/>
                    </a:ext>
                  </a:extLst>
                </a:gridCol>
              </a:tblGrid>
              <a:tr h="249925">
                <a:tc>
                  <a:txBody>
                    <a:bodyPr/>
                    <a:lstStyle/>
                    <a:p>
                      <a:pPr algn="ctr"/>
                      <a:endParaRPr lang="en-GB" sz="10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331451"/>
                  </a:ext>
                </a:extLst>
              </a:tr>
              <a:tr h="249925"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solidFill>
                            <a:schemeClr val="accent1"/>
                          </a:solidFill>
                        </a:rPr>
                        <a:t>Transition Periods</a:t>
                      </a:r>
                      <a:endParaRPr lang="en-GB" sz="1000" b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solidFill>
                            <a:schemeClr val="accent1"/>
                          </a:solidFill>
                        </a:rPr>
                        <a:t>Position Management </a:t>
                      </a:r>
                      <a:endParaRPr lang="en-GB" sz="1000" b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solidFill>
                            <a:schemeClr val="accent1"/>
                          </a:solidFill>
                        </a:rPr>
                        <a:t>Company Structure</a:t>
                      </a:r>
                      <a:endParaRPr lang="en-GB" sz="1000" b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solidFill>
                            <a:schemeClr val="accent1"/>
                          </a:solidFill>
                        </a:rPr>
                        <a:t>Mass Positions</a:t>
                      </a:r>
                      <a:endParaRPr lang="en-GB" sz="1000" b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 eaLnBrk="1" fontAlgn="base" hangingPunct="1"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FontTx/>
                        <a:buNone/>
                      </a:pPr>
                      <a:r>
                        <a:rPr lang="en-GB" sz="1000" b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osition Simplificat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solidFill>
                            <a:schemeClr val="accent1"/>
                          </a:solidFill>
                        </a:rPr>
                        <a:t>Leave of Absence</a:t>
                      </a:r>
                      <a:endParaRPr lang="en-GB" sz="1000" b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>
                          <a:solidFill>
                            <a:schemeClr val="accent1"/>
                          </a:solidFill>
                        </a:rPr>
                        <a:t>Right to Return</a:t>
                      </a:r>
                      <a:endParaRPr lang="en-GB" sz="1000" b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0579807"/>
                  </a:ext>
                </a:extLst>
              </a:tr>
              <a:tr h="106174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0" kern="1200" dirty="0">
                          <a:latin typeface="+mj-lt"/>
                        </a:rPr>
                        <a:t>We </a:t>
                      </a:r>
                      <a:r>
                        <a:rPr lang="en-GB" sz="800" b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will …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Use the SAP standard ‘Transition Period’ functionality to enable short term over-occupancy </a:t>
                      </a:r>
                      <a:r>
                        <a:rPr lang="en-GB" sz="800" b="0" kern="1200" dirty="0">
                          <a:latin typeface="+mj-lt"/>
                        </a:rPr>
                        <a:t>of a position</a:t>
                      </a:r>
                      <a:br>
                        <a:rPr lang="en-GB" sz="800" b="0" kern="1200" dirty="0">
                          <a:latin typeface="+mj-lt"/>
                        </a:rPr>
                      </a:br>
                      <a:br>
                        <a:rPr lang="en-GB" sz="700" b="0" kern="1200" dirty="0">
                          <a:latin typeface="+mj-lt"/>
                        </a:rPr>
                      </a:br>
                      <a:endParaRPr lang="en-GB" sz="700" b="1" dirty="0">
                        <a:solidFill>
                          <a:srgbClr val="00148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0" kern="1200">
                          <a:latin typeface="+mj-lt"/>
                        </a:rPr>
                        <a:t>We </a:t>
                      </a:r>
                      <a:r>
                        <a:rPr lang="en-GB" sz="800" b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will …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llow managers to initiate the creation </a:t>
                      </a:r>
                      <a:r>
                        <a:rPr lang="en-GB" sz="800" b="0" kern="1200">
                          <a:latin typeface="+mj-lt"/>
                        </a:rPr>
                        <a:t>of a position, within their structure (direct reports +1), directly within MyHub</a:t>
                      </a:r>
                      <a:br>
                        <a:rPr lang="en-GB" sz="800" b="0" kern="1200">
                          <a:latin typeface="+mj-lt"/>
                        </a:rPr>
                      </a:br>
                      <a:endParaRPr lang="en-GB" sz="700" b="1">
                        <a:solidFill>
                          <a:srgbClr val="00148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800" b="0">
                          <a:latin typeface="+mj-lt"/>
                        </a:rPr>
                        <a:t>We will …</a:t>
                      </a:r>
                    </a:p>
                    <a:p>
                      <a:pPr algn="ctr"/>
                      <a:r>
                        <a:rPr lang="en-GB" sz="800" b="0">
                          <a:latin typeface="+mj-lt"/>
                        </a:rPr>
                        <a:t>Use the SAP standard company structure hierarchy of Business Unit, Division and Department</a:t>
                      </a:r>
                      <a:br>
                        <a:rPr lang="en-GB" sz="800" b="0">
                          <a:latin typeface="+mj-lt"/>
                        </a:rPr>
                      </a:br>
                      <a:br>
                        <a:rPr lang="en-GB" sz="700" b="0">
                          <a:latin typeface="+mj-lt"/>
                        </a:rPr>
                      </a:br>
                      <a:br>
                        <a:rPr lang="en-GB" sz="200" b="0">
                          <a:latin typeface="+mj-lt"/>
                        </a:rPr>
                      </a:br>
                      <a:endParaRPr lang="en-GB" sz="700" b="1">
                        <a:solidFill>
                          <a:srgbClr val="00148C"/>
                        </a:solidFill>
                        <a:latin typeface="+mj-lt"/>
                      </a:endParaRPr>
                    </a:p>
                  </a:txBody>
                  <a:tcPr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0" kern="1200">
                          <a:latin typeface="+mj-lt"/>
                        </a:rPr>
                        <a:t>We </a:t>
                      </a:r>
                      <a:r>
                        <a:rPr lang="en-GB" sz="800" b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will …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Use the SAP standard ‘Mass position’ </a:t>
                      </a:r>
                      <a:r>
                        <a:rPr lang="en-GB" sz="800" b="0" kern="1200">
                          <a:latin typeface="+mj-lt"/>
                        </a:rPr>
                        <a:t>functionality to simplify high volume identical positions</a:t>
                      </a:r>
                      <a:br>
                        <a:rPr lang="en-GB" sz="800" b="0" kern="1200">
                          <a:latin typeface="+mj-lt"/>
                        </a:rPr>
                      </a:br>
                      <a:br>
                        <a:rPr lang="en-GB" sz="800" b="0" kern="1200">
                          <a:latin typeface="+mj-lt"/>
                        </a:rPr>
                      </a:br>
                      <a:br>
                        <a:rPr lang="en-GB" sz="800" b="0" kern="1200">
                          <a:latin typeface="+mj-lt"/>
                        </a:rPr>
                      </a:br>
                      <a:endParaRPr lang="en-GB" sz="700" b="1">
                        <a:solidFill>
                          <a:srgbClr val="00148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0" kern="1200">
                          <a:latin typeface="+mj-lt"/>
                        </a:rPr>
                        <a:t>We will …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0" kern="1200">
                          <a:latin typeface="+mj-lt"/>
                        </a:rPr>
                        <a:t>Remove excess custom fields and customisation from the Position and Job Info</a:t>
                      </a:r>
                      <a:br>
                        <a:rPr lang="en-GB" sz="800" b="0" kern="1200">
                          <a:solidFill>
                            <a:srgbClr val="00148C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br>
                        <a:rPr lang="en-GB" sz="700" b="0" kern="1200">
                          <a:solidFill>
                            <a:srgbClr val="00148C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endParaRPr lang="en-GB" sz="700" b="0" kern="1200"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0" kern="1200">
                          <a:latin typeface="+mj-lt"/>
                        </a:rPr>
                        <a:t>We </a:t>
                      </a:r>
                      <a:r>
                        <a:rPr lang="en-GB" sz="800" b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will …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llow employees and managers to enter long </a:t>
                      </a:r>
                      <a:r>
                        <a:rPr lang="en-GB" sz="800" b="0" kern="1200">
                          <a:latin typeface="+mj-lt"/>
                        </a:rPr>
                        <a:t>term </a:t>
                      </a:r>
                      <a:r>
                        <a:rPr lang="en-GB" sz="800" b="0" kern="1200" err="1">
                          <a:latin typeface="+mj-lt"/>
                        </a:rPr>
                        <a:t>LoA</a:t>
                      </a:r>
                      <a:r>
                        <a:rPr lang="en-GB" sz="800" b="0" kern="1200">
                          <a:latin typeface="+mj-lt"/>
                        </a:rPr>
                        <a:t> in the ‘Time Off’ portlet directly in MyHub</a:t>
                      </a:r>
                      <a:br>
                        <a:rPr lang="en-GB" sz="800" b="0" kern="1200">
                          <a:latin typeface="+mj-lt"/>
                        </a:rPr>
                      </a:br>
                      <a:br>
                        <a:rPr lang="en-GB" sz="800" b="0" kern="1200">
                          <a:latin typeface="+mj-lt"/>
                        </a:rPr>
                      </a:br>
                      <a:endParaRPr lang="en-GB" sz="700" b="0" kern="1200">
                        <a:solidFill>
                          <a:srgbClr val="00148C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0" kern="1200">
                          <a:latin typeface="+mj-lt"/>
                        </a:rPr>
                        <a:t>We </a:t>
                      </a:r>
                      <a:r>
                        <a:rPr lang="en-GB" sz="800" b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will …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Use the </a:t>
                      </a:r>
                      <a:r>
                        <a:rPr lang="en-GB" sz="800" b="0" kern="1200">
                          <a:latin typeface="+mj-lt"/>
                        </a:rPr>
                        <a:t>SAP standard ‘Right to Return’ functionality to unassign an individual on leave of global assignment from their position</a:t>
                      </a:r>
                      <a:br>
                        <a:rPr lang="en-GB" sz="800" b="0" kern="1200">
                          <a:latin typeface="+mj-lt"/>
                        </a:rPr>
                      </a:br>
                      <a:br>
                        <a:rPr lang="en-GB" sz="800" b="0" kern="1200">
                          <a:latin typeface="+mj-lt"/>
                        </a:rPr>
                      </a:br>
                      <a:endParaRPr lang="en-GB" sz="700" b="0" kern="1200">
                        <a:solidFill>
                          <a:srgbClr val="00148C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9134734"/>
                  </a:ext>
                </a:extLst>
              </a:tr>
              <a:tr h="275016"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>
                          <a:solidFill>
                            <a:srgbClr val="00148C"/>
                          </a:solidFill>
                          <a:latin typeface="+mn-lt"/>
                          <a:ea typeface="+mn-ea"/>
                          <a:cs typeface="+mn-cs"/>
                        </a:rPr>
                        <a:t>Benefits</a:t>
                      </a:r>
                    </a:p>
                  </a:txBody>
                  <a:tcPr anchor="ctr"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700" b="1">
                        <a:solidFill>
                          <a:srgbClr val="00148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700" b="1">
                        <a:solidFill>
                          <a:srgbClr val="00148C"/>
                        </a:solidFill>
                        <a:latin typeface="+mj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700" b="1">
                        <a:solidFill>
                          <a:srgbClr val="00148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GB" sz="700" b="0" kern="1200"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700" b="0" kern="1200">
                        <a:solidFill>
                          <a:srgbClr val="00148C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700" b="0" kern="1200">
                        <a:solidFill>
                          <a:srgbClr val="00148C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1467807"/>
                  </a:ext>
                </a:extLst>
              </a:tr>
              <a:tr h="1312433">
                <a:tc>
                  <a:txBody>
                    <a:bodyPr/>
                    <a:lstStyle/>
                    <a:p>
                      <a:pPr algn="ctr"/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implified &amp; standard position management</a:t>
                      </a:r>
                    </a:p>
                    <a:p>
                      <a:pPr algn="ctr"/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Greater reuse of positions protects succession plans and historical reporting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duce Business Services workload, and accelerate processe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nagers will be able to start hiring into a ‘to be’ vacant position immediately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implified &amp; standard headcount reporting</a:t>
                      </a:r>
                    </a:p>
                    <a:p>
                      <a:pPr algn="ctr"/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e will have reduced the need to create ‘duplicate’ positions which currently inflates out headcount reporting</a:t>
                      </a:r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ystemise offline form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e will remove the need for the current PDF position creation forms submitted to business service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educe Business Services workload, and accelerate SLA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Business Services will review a workflow rather than keying in a complete position into the system. Front end data validation will reduce the data points requiring review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Improved manager experience and autonomy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ligned global process for managers with no offline steps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Unlock standard and simple reporting and dashboards</a:t>
                      </a:r>
                    </a:p>
                    <a:p>
                      <a:pPr algn="ctr"/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implified hierarchies enable the release of self serve KPI tiles, reports or dashboards to HR CoEs and managers</a:t>
                      </a:r>
                      <a:r>
                        <a:rPr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lvl="0" algn="ctr">
                        <a:buNone/>
                      </a:pPr>
                      <a:endParaRPr kumimoji="0" lang="en-GB" sz="800" b="0" i="1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implified and standardised integrations to ECC</a:t>
                      </a:r>
                    </a:p>
                    <a:p>
                      <a:pPr algn="ctr"/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e will reduce the volume of replication errors between MyHub and SAP…</a:t>
                      </a:r>
                    </a:p>
                    <a:p>
                      <a:pPr algn="ctr"/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…Reducing the time required to maintain dual structures and ensuring that data is aligned between systems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implify management of high volume teams</a:t>
                      </a:r>
                    </a:p>
                    <a:p>
                      <a:pPr algn="ctr"/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For high volume identical roles such as graduate intakes or MSP teams, enables a significant reduction in the volume of positions required</a:t>
                      </a:r>
                    </a:p>
                    <a:p>
                      <a:pPr algn="ctr"/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ccelerate recruitment process for new talent and entry level roles</a:t>
                      </a:r>
                    </a:p>
                    <a:p>
                      <a:pPr algn="ctr"/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he simplified position structure enabled by mass positions flows through to recruitment enabling streamlined mass requisitions and offer approvals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implify &amp; standard position data maintenance</a:t>
                      </a:r>
                    </a:p>
                    <a:p>
                      <a:pPr algn="ctr"/>
                      <a:r>
                        <a:rPr kumimoji="0" lang="en-GB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e will remove a total of ~ 30 fields from either the position or the job enabling simpler creation and maintenance with cleaner user interfaces.</a:t>
                      </a:r>
                    </a:p>
                    <a:p>
                      <a:pPr lvl="0" algn="ctr">
                        <a:buNone/>
                      </a:pPr>
                      <a:endParaRPr lang="en-GB" sz="8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implified and standardised integrations to ECC</a:t>
                      </a:r>
                    </a:p>
                    <a:p>
                      <a:pPr algn="ctr"/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 will remove the previous custom complexity in our integrations reducing replication errors and reducing the required effort to maintain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ystemise </a:t>
                      </a:r>
                      <a:r>
                        <a:rPr kumimoji="0" lang="en-GB" sz="800" b="1" i="0" u="none" strike="noStrike" kern="1200" cap="none" spc="0" normalizeH="0" baseline="0" err="1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LoA</a:t>
                      </a:r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request process</a:t>
                      </a:r>
                    </a:p>
                    <a:p>
                      <a:pPr algn="ctr"/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We will remove the need for current offline forms or the use of other systems such as </a:t>
                      </a:r>
                      <a:r>
                        <a:rPr kumimoji="0" lang="en-GB" sz="800" b="0" i="1" u="none" strike="noStrike" kern="1200" cap="none" spc="0" normalizeH="0" baseline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Myservices</a:t>
                      </a:r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to request </a:t>
                      </a:r>
                      <a:r>
                        <a:rPr kumimoji="0" lang="en-GB" sz="800" b="0" i="1" u="none" strike="noStrike" kern="1200" cap="none" spc="0" normalizeH="0" baseline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LoA</a:t>
                      </a:r>
                      <a:endParaRPr kumimoji="0" lang="en-GB" sz="800" b="0" i="1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duce Business Services workload, and accelerate SLA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here possible </a:t>
                      </a:r>
                      <a:r>
                        <a:rPr kumimoji="0" lang="en-GB" sz="800" b="0" i="1" u="none" strike="noStrike" kern="1200" cap="none" spc="0" normalizeH="0" baseline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A</a:t>
                      </a:r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requests will use straight through processing by the system without workflows to business service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FontTx/>
                        <a:buNone/>
                      </a:pPr>
                      <a:r>
                        <a:rPr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 </a:t>
                      </a:r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mproved employee experience and autonomy</a:t>
                      </a:r>
                    </a:p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FontTx/>
                        <a:buNone/>
                      </a:pPr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ligned global process for managers with no offline steps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implified &amp; standard position managem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reater reuse of positions protects succession plans and historical reporting</a:t>
                      </a:r>
                      <a:endParaRPr kumimoji="0" lang="en-GB" sz="8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duce Business Services workload, and accelerate processe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nagers will be able to start recruitment into a position as soon as the global assignment or leave is processed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0" lang="en-GB" sz="8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implified &amp; standard headcount reporting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 will have reduced the need to create ‘duplicate’ positions which currently inflates out headcount reporting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2486467"/>
                  </a:ext>
                </a:extLst>
              </a:tr>
              <a:tr h="453542">
                <a:tc>
                  <a:txBody>
                    <a:bodyPr/>
                    <a:lstStyle/>
                    <a:p>
                      <a:pPr algn="ctr"/>
                      <a:endParaRPr kumimoji="0" lang="en-GB" sz="800" b="0" i="1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0" i="1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0" lang="en-GB" sz="800" b="0" i="1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0" lang="en-GB" sz="800" b="0" i="1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0" lang="en-GB" sz="800" b="0" i="1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FontTx/>
                        <a:buNone/>
                      </a:pPr>
                      <a:endParaRPr kumimoji="0" lang="en-GB" sz="800" b="0" i="1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178972"/>
                  </a:ext>
                </a:extLst>
              </a:tr>
            </a:tbl>
          </a:graphicData>
        </a:graphic>
      </p:graphicFrame>
      <p:sp>
        <p:nvSpPr>
          <p:cNvPr id="2" name="Arrow: Pentagon 1">
            <a:extLst>
              <a:ext uri="{FF2B5EF4-FFF2-40B4-BE49-F238E27FC236}">
                <a16:creationId xmlns:a16="http://schemas.microsoft.com/office/drawing/2014/main" id="{C5E6AB02-CA94-4333-9B6C-609E54E30E76}"/>
              </a:ext>
            </a:extLst>
          </p:cNvPr>
          <p:cNvSpPr/>
          <p:nvPr/>
        </p:nvSpPr>
        <p:spPr bwMode="auto">
          <a:xfrm rot="5400000">
            <a:off x="492834" y="1445096"/>
            <a:ext cx="1306800" cy="1679758"/>
          </a:xfrm>
          <a:prstGeom prst="homePlate">
            <a:avLst>
              <a:gd name="adj" fmla="val 15359"/>
            </a:avLst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A1F9ED-6EDC-4E8D-804E-658F08B13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40724"/>
            <a:ext cx="11329827" cy="574516"/>
          </a:xfrm>
        </p:spPr>
        <p:txBody>
          <a:bodyPr/>
          <a:lstStyle/>
          <a:p>
            <a:r>
              <a:rPr lang="en-US">
                <a:latin typeface="+mn-lt"/>
              </a:rPr>
              <a:t>Key Employee Central Decisions</a:t>
            </a:r>
            <a:endParaRPr lang="en-US">
              <a:solidFill>
                <a:srgbClr val="55555A"/>
              </a:solidFill>
            </a:endParaRPr>
          </a:p>
        </p:txBody>
      </p:sp>
      <p:grpSp>
        <p:nvGrpSpPr>
          <p:cNvPr id="70" name="Group 8">
            <a:extLst>
              <a:ext uri="{FF2B5EF4-FFF2-40B4-BE49-F238E27FC236}">
                <a16:creationId xmlns:a16="http://schemas.microsoft.com/office/drawing/2014/main" id="{409DBB20-3902-445C-B4EB-255832805B8A}"/>
              </a:ext>
            </a:extLst>
          </p:cNvPr>
          <p:cNvGrpSpPr/>
          <p:nvPr/>
        </p:nvGrpSpPr>
        <p:grpSpPr>
          <a:xfrm>
            <a:off x="368834" y="6191014"/>
            <a:ext cx="1564977" cy="287153"/>
            <a:chOff x="602722" y="6516329"/>
            <a:chExt cx="1564977" cy="287153"/>
          </a:xfrm>
        </p:grpSpPr>
        <p:pic>
          <p:nvPicPr>
            <p:cNvPr id="71" name="Graphic 70" descr="Playbook">
              <a:extLst>
                <a:ext uri="{FF2B5EF4-FFF2-40B4-BE49-F238E27FC236}">
                  <a16:creationId xmlns:a16="http://schemas.microsoft.com/office/drawing/2014/main" id="{D25A3C6E-AC43-46F7-BA72-D4AC2AAE23A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02722" y="6516329"/>
              <a:ext cx="287153" cy="287153"/>
            </a:xfrm>
            <a:prstGeom prst="rect">
              <a:avLst/>
            </a:prstGeom>
          </p:spPr>
        </p:pic>
        <p:pic>
          <p:nvPicPr>
            <p:cNvPr id="72" name="Graphic 71" descr="Remote control">
              <a:extLst>
                <a:ext uri="{FF2B5EF4-FFF2-40B4-BE49-F238E27FC236}">
                  <a16:creationId xmlns:a16="http://schemas.microsoft.com/office/drawing/2014/main" id="{18C5A2AA-8B10-473F-A12D-68E580DDE6F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46961" y="6516329"/>
              <a:ext cx="253809" cy="253809"/>
            </a:xfrm>
            <a:prstGeom prst="rect">
              <a:avLst/>
            </a:prstGeom>
          </p:spPr>
        </p:pic>
        <p:pic>
          <p:nvPicPr>
            <p:cNvPr id="73" name="Graphic 72" descr="Venn diagram">
              <a:extLst>
                <a:ext uri="{FF2B5EF4-FFF2-40B4-BE49-F238E27FC236}">
                  <a16:creationId xmlns:a16="http://schemas.microsoft.com/office/drawing/2014/main" id="{1ABF7A29-1244-489E-B0A7-24ED91CB3CB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602095" y="6516329"/>
              <a:ext cx="287153" cy="287153"/>
            </a:xfrm>
            <a:prstGeom prst="rect">
              <a:avLst/>
            </a:prstGeom>
          </p:spPr>
        </p:pic>
        <p:pic>
          <p:nvPicPr>
            <p:cNvPr id="74" name="Graphic 73" descr="Document">
              <a:extLst>
                <a:ext uri="{FF2B5EF4-FFF2-40B4-BE49-F238E27FC236}">
                  <a16:creationId xmlns:a16="http://schemas.microsoft.com/office/drawing/2014/main" id="{8F011A7D-3A3E-4D8B-A1B6-215A23339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257856" y="6516329"/>
              <a:ext cx="287153" cy="287153"/>
            </a:xfrm>
            <a:prstGeom prst="rect">
              <a:avLst/>
            </a:prstGeom>
          </p:spPr>
        </p:pic>
        <p:pic>
          <p:nvPicPr>
            <p:cNvPr id="75" name="Graphic 74" descr="Smiling face with solid fill">
              <a:extLst>
                <a:ext uri="{FF2B5EF4-FFF2-40B4-BE49-F238E27FC236}">
                  <a16:creationId xmlns:a16="http://schemas.microsoft.com/office/drawing/2014/main" id="{7231DB88-4AF9-4210-AD45-FD2FF56672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946334" y="6549775"/>
              <a:ext cx="221365" cy="221365"/>
            </a:xfrm>
            <a:prstGeom prst="rect">
              <a:avLst/>
            </a:prstGeom>
          </p:spPr>
        </p:pic>
      </p:grpSp>
      <p:grpSp>
        <p:nvGrpSpPr>
          <p:cNvPr id="76" name="Group 22">
            <a:extLst>
              <a:ext uri="{FF2B5EF4-FFF2-40B4-BE49-F238E27FC236}">
                <a16:creationId xmlns:a16="http://schemas.microsoft.com/office/drawing/2014/main" id="{F297B77B-4391-4E2B-ADDE-E3320C5CCD67}"/>
              </a:ext>
            </a:extLst>
          </p:cNvPr>
          <p:cNvGrpSpPr/>
          <p:nvPr/>
        </p:nvGrpSpPr>
        <p:grpSpPr>
          <a:xfrm>
            <a:off x="2052436" y="6191014"/>
            <a:ext cx="1564977" cy="287153"/>
            <a:chOff x="602722" y="6516329"/>
            <a:chExt cx="1564977" cy="287153"/>
          </a:xfrm>
        </p:grpSpPr>
        <p:pic>
          <p:nvPicPr>
            <p:cNvPr id="77" name="Graphic 76" descr="Playbook">
              <a:extLst>
                <a:ext uri="{FF2B5EF4-FFF2-40B4-BE49-F238E27FC236}">
                  <a16:creationId xmlns:a16="http://schemas.microsoft.com/office/drawing/2014/main" id="{CDBB5061-8B8C-4E85-92C9-1152F746318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02722" y="6516329"/>
              <a:ext cx="287153" cy="287153"/>
            </a:xfrm>
            <a:prstGeom prst="rect">
              <a:avLst/>
            </a:prstGeom>
          </p:spPr>
        </p:pic>
        <p:pic>
          <p:nvPicPr>
            <p:cNvPr id="78" name="Graphic 77" descr="Remote control">
              <a:extLst>
                <a:ext uri="{FF2B5EF4-FFF2-40B4-BE49-F238E27FC236}">
                  <a16:creationId xmlns:a16="http://schemas.microsoft.com/office/drawing/2014/main" id="{6B0BFD2D-3D2B-453A-A439-6359016CD5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46961" y="6516329"/>
              <a:ext cx="253809" cy="253809"/>
            </a:xfrm>
            <a:prstGeom prst="rect">
              <a:avLst/>
            </a:prstGeom>
          </p:spPr>
        </p:pic>
        <p:pic>
          <p:nvPicPr>
            <p:cNvPr id="79" name="Graphic 78" descr="Venn diagram">
              <a:extLst>
                <a:ext uri="{FF2B5EF4-FFF2-40B4-BE49-F238E27FC236}">
                  <a16:creationId xmlns:a16="http://schemas.microsoft.com/office/drawing/2014/main" id="{36979A70-5788-43B1-B9FB-CE365B02C05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602095" y="6516329"/>
              <a:ext cx="287153" cy="287153"/>
            </a:xfrm>
            <a:prstGeom prst="rect">
              <a:avLst/>
            </a:prstGeom>
          </p:spPr>
        </p:pic>
        <p:pic>
          <p:nvPicPr>
            <p:cNvPr id="80" name="Graphic 79" descr="Document">
              <a:extLst>
                <a:ext uri="{FF2B5EF4-FFF2-40B4-BE49-F238E27FC236}">
                  <a16:creationId xmlns:a16="http://schemas.microsoft.com/office/drawing/2014/main" id="{707C5F8E-BB82-42B1-9C7B-DE7EE6134E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257856" y="6516329"/>
              <a:ext cx="287153" cy="287153"/>
            </a:xfrm>
            <a:prstGeom prst="rect">
              <a:avLst/>
            </a:prstGeom>
          </p:spPr>
        </p:pic>
        <p:pic>
          <p:nvPicPr>
            <p:cNvPr id="81" name="Graphic 80" descr="Smiling face with solid fill">
              <a:extLst>
                <a:ext uri="{FF2B5EF4-FFF2-40B4-BE49-F238E27FC236}">
                  <a16:creationId xmlns:a16="http://schemas.microsoft.com/office/drawing/2014/main" id="{996442A8-E765-4FB0-82D1-3C500C97A0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946334" y="6549775"/>
              <a:ext cx="221365" cy="221365"/>
            </a:xfrm>
            <a:prstGeom prst="rect">
              <a:avLst/>
            </a:prstGeom>
          </p:spPr>
        </p:pic>
      </p:grpSp>
      <p:grpSp>
        <p:nvGrpSpPr>
          <p:cNvPr id="82" name="Group 35">
            <a:extLst>
              <a:ext uri="{FF2B5EF4-FFF2-40B4-BE49-F238E27FC236}">
                <a16:creationId xmlns:a16="http://schemas.microsoft.com/office/drawing/2014/main" id="{9C972EC0-0025-4E77-9134-D4E37F27B89E}"/>
              </a:ext>
            </a:extLst>
          </p:cNvPr>
          <p:cNvGrpSpPr/>
          <p:nvPr/>
        </p:nvGrpSpPr>
        <p:grpSpPr>
          <a:xfrm>
            <a:off x="3696015" y="6206833"/>
            <a:ext cx="1564977" cy="287153"/>
            <a:chOff x="450322" y="6363929"/>
            <a:chExt cx="1564977" cy="287153"/>
          </a:xfrm>
        </p:grpSpPr>
        <p:pic>
          <p:nvPicPr>
            <p:cNvPr id="83" name="Graphic 82" descr="Playbook">
              <a:extLst>
                <a:ext uri="{FF2B5EF4-FFF2-40B4-BE49-F238E27FC236}">
                  <a16:creationId xmlns:a16="http://schemas.microsoft.com/office/drawing/2014/main" id="{67DA47BA-905D-41DB-AD16-246FD5C4D4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50322" y="6363929"/>
              <a:ext cx="287153" cy="287153"/>
            </a:xfrm>
            <a:prstGeom prst="rect">
              <a:avLst/>
            </a:prstGeom>
          </p:spPr>
        </p:pic>
        <p:pic>
          <p:nvPicPr>
            <p:cNvPr id="84" name="Graphic 83" descr="Remote control">
              <a:extLst>
                <a:ext uri="{FF2B5EF4-FFF2-40B4-BE49-F238E27FC236}">
                  <a16:creationId xmlns:a16="http://schemas.microsoft.com/office/drawing/2014/main" id="{9DE7ADAE-D618-43A8-AAB9-14F59FB1C2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94561" y="6363929"/>
              <a:ext cx="253809" cy="253809"/>
            </a:xfrm>
            <a:prstGeom prst="rect">
              <a:avLst/>
            </a:prstGeom>
          </p:spPr>
        </p:pic>
        <p:pic>
          <p:nvPicPr>
            <p:cNvPr id="85" name="Graphic 84" descr="Venn diagram">
              <a:extLst>
                <a:ext uri="{FF2B5EF4-FFF2-40B4-BE49-F238E27FC236}">
                  <a16:creationId xmlns:a16="http://schemas.microsoft.com/office/drawing/2014/main" id="{1F7339A0-19EF-4048-A15B-6616F48590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449695" y="6363929"/>
              <a:ext cx="287153" cy="287153"/>
            </a:xfrm>
            <a:prstGeom prst="rect">
              <a:avLst/>
            </a:prstGeom>
          </p:spPr>
        </p:pic>
        <p:pic>
          <p:nvPicPr>
            <p:cNvPr id="86" name="Graphic 85" descr="Document">
              <a:extLst>
                <a:ext uri="{FF2B5EF4-FFF2-40B4-BE49-F238E27FC236}">
                  <a16:creationId xmlns:a16="http://schemas.microsoft.com/office/drawing/2014/main" id="{E2ECCC73-434A-407F-9C6B-7FE8F8AD29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105456" y="6363929"/>
              <a:ext cx="287153" cy="287153"/>
            </a:xfrm>
            <a:prstGeom prst="rect">
              <a:avLst/>
            </a:prstGeom>
          </p:spPr>
        </p:pic>
        <p:pic>
          <p:nvPicPr>
            <p:cNvPr id="87" name="Graphic 86" descr="Smiling face with solid fill">
              <a:extLst>
                <a:ext uri="{FF2B5EF4-FFF2-40B4-BE49-F238E27FC236}">
                  <a16:creationId xmlns:a16="http://schemas.microsoft.com/office/drawing/2014/main" id="{E13D43BA-CA4F-47F9-8238-17F5E5B7AA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793934" y="6397375"/>
              <a:ext cx="221365" cy="221365"/>
            </a:xfrm>
            <a:prstGeom prst="rect">
              <a:avLst/>
            </a:prstGeom>
          </p:spPr>
        </p:pic>
      </p:grpSp>
      <p:grpSp>
        <p:nvGrpSpPr>
          <p:cNvPr id="88" name="Group 47">
            <a:extLst>
              <a:ext uri="{FF2B5EF4-FFF2-40B4-BE49-F238E27FC236}">
                <a16:creationId xmlns:a16="http://schemas.microsoft.com/office/drawing/2014/main" id="{59ED2A88-6A69-4F69-BE2D-ACC5FC78C4A5}"/>
              </a:ext>
            </a:extLst>
          </p:cNvPr>
          <p:cNvGrpSpPr/>
          <p:nvPr/>
        </p:nvGrpSpPr>
        <p:grpSpPr>
          <a:xfrm>
            <a:off x="5395840" y="6204172"/>
            <a:ext cx="1564977" cy="287153"/>
            <a:chOff x="602722" y="6516329"/>
            <a:chExt cx="1564977" cy="287153"/>
          </a:xfrm>
        </p:grpSpPr>
        <p:pic>
          <p:nvPicPr>
            <p:cNvPr id="89" name="Graphic 88" descr="Playbook">
              <a:extLst>
                <a:ext uri="{FF2B5EF4-FFF2-40B4-BE49-F238E27FC236}">
                  <a16:creationId xmlns:a16="http://schemas.microsoft.com/office/drawing/2014/main" id="{33FF994B-4032-4904-A4EE-72443E38E5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02722" y="6516329"/>
              <a:ext cx="287153" cy="287153"/>
            </a:xfrm>
            <a:prstGeom prst="rect">
              <a:avLst/>
            </a:prstGeom>
          </p:spPr>
        </p:pic>
        <p:pic>
          <p:nvPicPr>
            <p:cNvPr id="90" name="Graphic 89" descr="Remote control">
              <a:extLst>
                <a:ext uri="{FF2B5EF4-FFF2-40B4-BE49-F238E27FC236}">
                  <a16:creationId xmlns:a16="http://schemas.microsoft.com/office/drawing/2014/main" id="{E740B70F-4A42-4097-AE42-F675645278B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46961" y="6516329"/>
              <a:ext cx="253809" cy="253809"/>
            </a:xfrm>
            <a:prstGeom prst="rect">
              <a:avLst/>
            </a:prstGeom>
          </p:spPr>
        </p:pic>
        <p:pic>
          <p:nvPicPr>
            <p:cNvPr id="91" name="Graphic 90" descr="Venn diagram">
              <a:extLst>
                <a:ext uri="{FF2B5EF4-FFF2-40B4-BE49-F238E27FC236}">
                  <a16:creationId xmlns:a16="http://schemas.microsoft.com/office/drawing/2014/main" id="{46784815-544D-4B86-87F1-3FDE27518C6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602095" y="6516329"/>
              <a:ext cx="287153" cy="287153"/>
            </a:xfrm>
            <a:prstGeom prst="rect">
              <a:avLst/>
            </a:prstGeom>
          </p:spPr>
        </p:pic>
        <p:pic>
          <p:nvPicPr>
            <p:cNvPr id="92" name="Graphic 91" descr="Document">
              <a:extLst>
                <a:ext uri="{FF2B5EF4-FFF2-40B4-BE49-F238E27FC236}">
                  <a16:creationId xmlns:a16="http://schemas.microsoft.com/office/drawing/2014/main" id="{E9FABD7B-1E52-4CBF-85EC-626B186423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257856" y="6516329"/>
              <a:ext cx="287153" cy="287153"/>
            </a:xfrm>
            <a:prstGeom prst="rect">
              <a:avLst/>
            </a:prstGeom>
          </p:spPr>
        </p:pic>
        <p:pic>
          <p:nvPicPr>
            <p:cNvPr id="93" name="Graphic 92" descr="Smiling face with solid fill">
              <a:extLst>
                <a:ext uri="{FF2B5EF4-FFF2-40B4-BE49-F238E27FC236}">
                  <a16:creationId xmlns:a16="http://schemas.microsoft.com/office/drawing/2014/main" id="{59A2B5D5-640F-474D-8321-F9D6A81222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946334" y="6549775"/>
              <a:ext cx="221365" cy="221365"/>
            </a:xfrm>
            <a:prstGeom prst="rect">
              <a:avLst/>
            </a:prstGeom>
          </p:spPr>
        </p:pic>
      </p:grpSp>
      <p:grpSp>
        <p:nvGrpSpPr>
          <p:cNvPr id="94" name="Group 59">
            <a:extLst>
              <a:ext uri="{FF2B5EF4-FFF2-40B4-BE49-F238E27FC236}">
                <a16:creationId xmlns:a16="http://schemas.microsoft.com/office/drawing/2014/main" id="{DED4A337-532D-4D6E-8F2E-7E52D213ED55}"/>
              </a:ext>
            </a:extLst>
          </p:cNvPr>
          <p:cNvGrpSpPr/>
          <p:nvPr/>
        </p:nvGrpSpPr>
        <p:grpSpPr>
          <a:xfrm>
            <a:off x="7095663" y="6218874"/>
            <a:ext cx="1564977" cy="287153"/>
            <a:chOff x="602722" y="6516329"/>
            <a:chExt cx="1564977" cy="287153"/>
          </a:xfrm>
        </p:grpSpPr>
        <p:pic>
          <p:nvPicPr>
            <p:cNvPr id="95" name="Graphic 94" descr="Playbook">
              <a:extLst>
                <a:ext uri="{FF2B5EF4-FFF2-40B4-BE49-F238E27FC236}">
                  <a16:creationId xmlns:a16="http://schemas.microsoft.com/office/drawing/2014/main" id="{8CB72E31-2B52-4913-B7F1-5AD5D08175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02722" y="6516329"/>
              <a:ext cx="287153" cy="287153"/>
            </a:xfrm>
            <a:prstGeom prst="rect">
              <a:avLst/>
            </a:prstGeom>
          </p:spPr>
        </p:pic>
        <p:pic>
          <p:nvPicPr>
            <p:cNvPr id="96" name="Graphic 95" descr="Remote control">
              <a:extLst>
                <a:ext uri="{FF2B5EF4-FFF2-40B4-BE49-F238E27FC236}">
                  <a16:creationId xmlns:a16="http://schemas.microsoft.com/office/drawing/2014/main" id="{CEF3AC22-29E4-433B-A9AF-B4405EC95F1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46961" y="6516329"/>
              <a:ext cx="253809" cy="253809"/>
            </a:xfrm>
            <a:prstGeom prst="rect">
              <a:avLst/>
            </a:prstGeom>
          </p:spPr>
        </p:pic>
        <p:pic>
          <p:nvPicPr>
            <p:cNvPr id="97" name="Graphic 96" descr="Venn diagram">
              <a:extLst>
                <a:ext uri="{FF2B5EF4-FFF2-40B4-BE49-F238E27FC236}">
                  <a16:creationId xmlns:a16="http://schemas.microsoft.com/office/drawing/2014/main" id="{C6776BC0-F4EA-4038-BEAA-F86935E7C8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602095" y="6516329"/>
              <a:ext cx="287153" cy="287153"/>
            </a:xfrm>
            <a:prstGeom prst="rect">
              <a:avLst/>
            </a:prstGeom>
          </p:spPr>
        </p:pic>
        <p:pic>
          <p:nvPicPr>
            <p:cNvPr id="98" name="Graphic 97" descr="Document">
              <a:extLst>
                <a:ext uri="{FF2B5EF4-FFF2-40B4-BE49-F238E27FC236}">
                  <a16:creationId xmlns:a16="http://schemas.microsoft.com/office/drawing/2014/main" id="{14062242-0012-4A74-84BD-B72D3B731DC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257856" y="6516329"/>
              <a:ext cx="287153" cy="287153"/>
            </a:xfrm>
            <a:prstGeom prst="rect">
              <a:avLst/>
            </a:prstGeom>
          </p:spPr>
        </p:pic>
        <p:pic>
          <p:nvPicPr>
            <p:cNvPr id="99" name="Graphic 98" descr="Smiling face with solid fill">
              <a:extLst>
                <a:ext uri="{FF2B5EF4-FFF2-40B4-BE49-F238E27FC236}">
                  <a16:creationId xmlns:a16="http://schemas.microsoft.com/office/drawing/2014/main" id="{53E677B1-B5EA-42E6-828F-C46072B8EE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946334" y="6549775"/>
              <a:ext cx="221365" cy="221365"/>
            </a:xfrm>
            <a:prstGeom prst="rect">
              <a:avLst/>
            </a:prstGeom>
          </p:spPr>
        </p:pic>
      </p:grpSp>
      <p:grpSp>
        <p:nvGrpSpPr>
          <p:cNvPr id="100" name="Group 120">
            <a:extLst>
              <a:ext uri="{FF2B5EF4-FFF2-40B4-BE49-F238E27FC236}">
                <a16:creationId xmlns:a16="http://schemas.microsoft.com/office/drawing/2014/main" id="{7EB71FD1-A27D-4B07-932B-3D3F36BBD689}"/>
              </a:ext>
            </a:extLst>
          </p:cNvPr>
          <p:cNvGrpSpPr/>
          <p:nvPr/>
        </p:nvGrpSpPr>
        <p:grpSpPr>
          <a:xfrm>
            <a:off x="8744525" y="6209819"/>
            <a:ext cx="1564977" cy="287153"/>
            <a:chOff x="602722" y="6516329"/>
            <a:chExt cx="1564977" cy="287153"/>
          </a:xfrm>
        </p:grpSpPr>
        <p:pic>
          <p:nvPicPr>
            <p:cNvPr id="101" name="Graphic 100" descr="Playbook">
              <a:extLst>
                <a:ext uri="{FF2B5EF4-FFF2-40B4-BE49-F238E27FC236}">
                  <a16:creationId xmlns:a16="http://schemas.microsoft.com/office/drawing/2014/main" id="{7A3FD4F1-694C-4611-BC34-CF4157D5BD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02722" y="6516329"/>
              <a:ext cx="287153" cy="287153"/>
            </a:xfrm>
            <a:prstGeom prst="rect">
              <a:avLst/>
            </a:prstGeom>
          </p:spPr>
        </p:pic>
        <p:pic>
          <p:nvPicPr>
            <p:cNvPr id="102" name="Graphic 101" descr="Remote control">
              <a:extLst>
                <a:ext uri="{FF2B5EF4-FFF2-40B4-BE49-F238E27FC236}">
                  <a16:creationId xmlns:a16="http://schemas.microsoft.com/office/drawing/2014/main" id="{6838E17B-B6A4-4F10-B26B-9D66B16825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46961" y="6516329"/>
              <a:ext cx="253809" cy="253809"/>
            </a:xfrm>
            <a:prstGeom prst="rect">
              <a:avLst/>
            </a:prstGeom>
          </p:spPr>
        </p:pic>
        <p:pic>
          <p:nvPicPr>
            <p:cNvPr id="103" name="Graphic 102" descr="Venn diagram">
              <a:extLst>
                <a:ext uri="{FF2B5EF4-FFF2-40B4-BE49-F238E27FC236}">
                  <a16:creationId xmlns:a16="http://schemas.microsoft.com/office/drawing/2014/main" id="{7B53A571-5162-4CE6-B8E4-EE32D7DF0BE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602095" y="6516329"/>
              <a:ext cx="287153" cy="287153"/>
            </a:xfrm>
            <a:prstGeom prst="rect">
              <a:avLst/>
            </a:prstGeom>
          </p:spPr>
        </p:pic>
        <p:pic>
          <p:nvPicPr>
            <p:cNvPr id="104" name="Graphic 103" descr="Document">
              <a:extLst>
                <a:ext uri="{FF2B5EF4-FFF2-40B4-BE49-F238E27FC236}">
                  <a16:creationId xmlns:a16="http://schemas.microsoft.com/office/drawing/2014/main" id="{654D3608-AE16-41CF-AF0F-632EA5E356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257856" y="6516329"/>
              <a:ext cx="287153" cy="287153"/>
            </a:xfrm>
            <a:prstGeom prst="rect">
              <a:avLst/>
            </a:prstGeom>
          </p:spPr>
        </p:pic>
        <p:pic>
          <p:nvPicPr>
            <p:cNvPr id="105" name="Graphic 104" descr="Smiling face with solid fill">
              <a:extLst>
                <a:ext uri="{FF2B5EF4-FFF2-40B4-BE49-F238E27FC236}">
                  <a16:creationId xmlns:a16="http://schemas.microsoft.com/office/drawing/2014/main" id="{6EAC5F35-58A3-4090-961F-007A42CB02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946334" y="6549775"/>
              <a:ext cx="221365" cy="221365"/>
            </a:xfrm>
            <a:prstGeom prst="rect">
              <a:avLst/>
            </a:prstGeom>
          </p:spPr>
        </p:pic>
      </p:grpSp>
      <p:grpSp>
        <p:nvGrpSpPr>
          <p:cNvPr id="106" name="Group 138">
            <a:extLst>
              <a:ext uri="{FF2B5EF4-FFF2-40B4-BE49-F238E27FC236}">
                <a16:creationId xmlns:a16="http://schemas.microsoft.com/office/drawing/2014/main" id="{9A5F29BA-1FB1-4159-83A6-EA6E096393BB}"/>
              </a:ext>
            </a:extLst>
          </p:cNvPr>
          <p:cNvGrpSpPr/>
          <p:nvPr/>
        </p:nvGrpSpPr>
        <p:grpSpPr>
          <a:xfrm>
            <a:off x="10428846" y="6204172"/>
            <a:ext cx="1564977" cy="287153"/>
            <a:chOff x="602722" y="6516329"/>
            <a:chExt cx="1564977" cy="287153"/>
          </a:xfrm>
        </p:grpSpPr>
        <p:pic>
          <p:nvPicPr>
            <p:cNvPr id="107" name="Graphic 106" descr="Playbook">
              <a:extLst>
                <a:ext uri="{FF2B5EF4-FFF2-40B4-BE49-F238E27FC236}">
                  <a16:creationId xmlns:a16="http://schemas.microsoft.com/office/drawing/2014/main" id="{2E36F64C-42BC-4D59-B53E-4415448B14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02722" y="6516329"/>
              <a:ext cx="287153" cy="287153"/>
            </a:xfrm>
            <a:prstGeom prst="rect">
              <a:avLst/>
            </a:prstGeom>
          </p:spPr>
        </p:pic>
        <p:pic>
          <p:nvPicPr>
            <p:cNvPr id="108" name="Graphic 107" descr="Remote control">
              <a:extLst>
                <a:ext uri="{FF2B5EF4-FFF2-40B4-BE49-F238E27FC236}">
                  <a16:creationId xmlns:a16="http://schemas.microsoft.com/office/drawing/2014/main" id="{886DEB6F-D92E-4598-9139-F9440C7699D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46961" y="6516329"/>
              <a:ext cx="253809" cy="253809"/>
            </a:xfrm>
            <a:prstGeom prst="rect">
              <a:avLst/>
            </a:prstGeom>
          </p:spPr>
        </p:pic>
        <p:pic>
          <p:nvPicPr>
            <p:cNvPr id="109" name="Graphic 108" descr="Venn diagram">
              <a:extLst>
                <a:ext uri="{FF2B5EF4-FFF2-40B4-BE49-F238E27FC236}">
                  <a16:creationId xmlns:a16="http://schemas.microsoft.com/office/drawing/2014/main" id="{B2F464EE-25FE-4629-8C67-B341D7CC2F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602095" y="6516329"/>
              <a:ext cx="287153" cy="287153"/>
            </a:xfrm>
            <a:prstGeom prst="rect">
              <a:avLst/>
            </a:prstGeom>
          </p:spPr>
        </p:pic>
        <p:pic>
          <p:nvPicPr>
            <p:cNvPr id="110" name="Graphic 109" descr="Document">
              <a:extLst>
                <a:ext uri="{FF2B5EF4-FFF2-40B4-BE49-F238E27FC236}">
                  <a16:creationId xmlns:a16="http://schemas.microsoft.com/office/drawing/2014/main" id="{3520CFA3-9112-4E1A-9447-2E52FA0A79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257856" y="6516329"/>
              <a:ext cx="287153" cy="287153"/>
            </a:xfrm>
            <a:prstGeom prst="rect">
              <a:avLst/>
            </a:prstGeom>
          </p:spPr>
        </p:pic>
        <p:pic>
          <p:nvPicPr>
            <p:cNvPr id="111" name="Graphic 110" descr="Smiling face with solid fill">
              <a:extLst>
                <a:ext uri="{FF2B5EF4-FFF2-40B4-BE49-F238E27FC236}">
                  <a16:creationId xmlns:a16="http://schemas.microsoft.com/office/drawing/2014/main" id="{5D3C371C-ABA4-4653-9862-B0251328BA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946334" y="6549775"/>
              <a:ext cx="221365" cy="221365"/>
            </a:xfrm>
            <a:prstGeom prst="rect">
              <a:avLst/>
            </a:prstGeom>
          </p:spPr>
        </p:pic>
      </p:grpSp>
      <p:sp>
        <p:nvSpPr>
          <p:cNvPr id="5" name="Arrow: Chevron 4">
            <a:extLst>
              <a:ext uri="{FF2B5EF4-FFF2-40B4-BE49-F238E27FC236}">
                <a16:creationId xmlns:a16="http://schemas.microsoft.com/office/drawing/2014/main" id="{19CDFB04-9BF9-4141-9AC8-368DF67CCF8F}"/>
              </a:ext>
            </a:extLst>
          </p:cNvPr>
          <p:cNvSpPr/>
          <p:nvPr/>
        </p:nvSpPr>
        <p:spPr bwMode="auto">
          <a:xfrm>
            <a:off x="381178" y="1340833"/>
            <a:ext cx="3244126" cy="210237"/>
          </a:xfrm>
          <a:prstGeom prst="chevron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Recruit</a:t>
            </a:r>
          </a:p>
        </p:txBody>
      </p:sp>
      <p:sp>
        <p:nvSpPr>
          <p:cNvPr id="112" name="Arrow: Chevron 111">
            <a:extLst>
              <a:ext uri="{FF2B5EF4-FFF2-40B4-BE49-F238E27FC236}">
                <a16:creationId xmlns:a16="http://schemas.microsoft.com/office/drawing/2014/main" id="{7DD8311B-8C40-4F6A-B397-0778F8C7B3A8}"/>
              </a:ext>
            </a:extLst>
          </p:cNvPr>
          <p:cNvSpPr/>
          <p:nvPr/>
        </p:nvSpPr>
        <p:spPr bwMode="auto">
          <a:xfrm>
            <a:off x="3692080" y="1340833"/>
            <a:ext cx="1637645" cy="210237"/>
          </a:xfrm>
          <a:prstGeom prst="chevron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Report</a:t>
            </a:r>
          </a:p>
        </p:txBody>
      </p:sp>
      <p:sp>
        <p:nvSpPr>
          <p:cNvPr id="113" name="Arrow: Chevron 112">
            <a:extLst>
              <a:ext uri="{FF2B5EF4-FFF2-40B4-BE49-F238E27FC236}">
                <a16:creationId xmlns:a16="http://schemas.microsoft.com/office/drawing/2014/main" id="{70794FA1-0391-4E4C-A8EA-7E3B3CD22C43}"/>
              </a:ext>
            </a:extLst>
          </p:cNvPr>
          <p:cNvSpPr/>
          <p:nvPr/>
        </p:nvSpPr>
        <p:spPr bwMode="auto">
          <a:xfrm>
            <a:off x="5395840" y="1340833"/>
            <a:ext cx="3244126" cy="210237"/>
          </a:xfrm>
          <a:prstGeom prst="chevron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Manage</a:t>
            </a:r>
          </a:p>
        </p:txBody>
      </p:sp>
      <p:sp>
        <p:nvSpPr>
          <p:cNvPr id="114" name="Arrow: Chevron 113">
            <a:extLst>
              <a:ext uri="{FF2B5EF4-FFF2-40B4-BE49-F238E27FC236}">
                <a16:creationId xmlns:a16="http://schemas.microsoft.com/office/drawing/2014/main" id="{35F4FBD5-A9D1-4DB0-814A-71DC53FD900A}"/>
              </a:ext>
            </a:extLst>
          </p:cNvPr>
          <p:cNvSpPr/>
          <p:nvPr/>
        </p:nvSpPr>
        <p:spPr bwMode="auto">
          <a:xfrm>
            <a:off x="8690011" y="1343301"/>
            <a:ext cx="3244126" cy="210237"/>
          </a:xfrm>
          <a:prstGeom prst="chevron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Exi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793EE3-7EA7-4122-BC29-904452F0D8C8}"/>
              </a:ext>
            </a:extLst>
          </p:cNvPr>
          <p:cNvSpPr/>
          <p:nvPr/>
        </p:nvSpPr>
        <p:spPr>
          <a:xfrm>
            <a:off x="8824886" y="6691689"/>
            <a:ext cx="312617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For additional detail the full excel decision log can be found </a:t>
            </a: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endParaRPr kumimoji="0" lang="en-GB" sz="1800" b="0" i="1" u="none" strike="noStrike" kern="1200" cap="none" spc="0" normalizeH="0" baseline="0" noProof="0">
              <a:ln>
                <a:noFill/>
              </a:ln>
              <a:solidFill>
                <a:srgbClr val="00148C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24" name="Arrow: Pentagon 123">
            <a:extLst>
              <a:ext uri="{FF2B5EF4-FFF2-40B4-BE49-F238E27FC236}">
                <a16:creationId xmlns:a16="http://schemas.microsoft.com/office/drawing/2014/main" id="{41A5E2C4-2F22-4C40-AA91-10180F9CCFF6}"/>
              </a:ext>
            </a:extLst>
          </p:cNvPr>
          <p:cNvSpPr/>
          <p:nvPr/>
        </p:nvSpPr>
        <p:spPr bwMode="auto">
          <a:xfrm rot="5400000">
            <a:off x="10558726" y="1445096"/>
            <a:ext cx="1306800" cy="1679758"/>
          </a:xfrm>
          <a:prstGeom prst="homePlate">
            <a:avLst>
              <a:gd name="adj" fmla="val 15359"/>
            </a:avLst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125" name="Arrow: Pentagon 124">
            <a:extLst>
              <a:ext uri="{FF2B5EF4-FFF2-40B4-BE49-F238E27FC236}">
                <a16:creationId xmlns:a16="http://schemas.microsoft.com/office/drawing/2014/main" id="{98843231-4FD2-4221-A9B9-61FF74D0760C}"/>
              </a:ext>
            </a:extLst>
          </p:cNvPr>
          <p:cNvSpPr/>
          <p:nvPr/>
        </p:nvSpPr>
        <p:spPr bwMode="auto">
          <a:xfrm rot="5400000">
            <a:off x="5526478" y="1445096"/>
            <a:ext cx="1306800" cy="1679758"/>
          </a:xfrm>
          <a:prstGeom prst="homePlate">
            <a:avLst>
              <a:gd name="adj" fmla="val 15359"/>
            </a:avLst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126" name="Arrow: Pentagon 125">
            <a:extLst>
              <a:ext uri="{FF2B5EF4-FFF2-40B4-BE49-F238E27FC236}">
                <a16:creationId xmlns:a16="http://schemas.microsoft.com/office/drawing/2014/main" id="{4381780E-E66D-4691-BF0D-BB9F6000F1D1}"/>
              </a:ext>
            </a:extLst>
          </p:cNvPr>
          <p:cNvSpPr/>
          <p:nvPr/>
        </p:nvSpPr>
        <p:spPr bwMode="auto">
          <a:xfrm rot="5400000">
            <a:off x="7204382" y="1445096"/>
            <a:ext cx="1306800" cy="1679758"/>
          </a:xfrm>
          <a:prstGeom prst="homePlate">
            <a:avLst>
              <a:gd name="adj" fmla="val 15359"/>
            </a:avLst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127" name="Arrow: Pentagon 126">
            <a:extLst>
              <a:ext uri="{FF2B5EF4-FFF2-40B4-BE49-F238E27FC236}">
                <a16:creationId xmlns:a16="http://schemas.microsoft.com/office/drawing/2014/main" id="{7576696B-B719-431D-BFD2-D3202D0C521F}"/>
              </a:ext>
            </a:extLst>
          </p:cNvPr>
          <p:cNvSpPr/>
          <p:nvPr/>
        </p:nvSpPr>
        <p:spPr bwMode="auto">
          <a:xfrm rot="5400000">
            <a:off x="8888726" y="1445096"/>
            <a:ext cx="1306800" cy="1679758"/>
          </a:xfrm>
          <a:prstGeom prst="homePlate">
            <a:avLst>
              <a:gd name="adj" fmla="val 15359"/>
            </a:avLst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128" name="Arrow: Pentagon 127">
            <a:extLst>
              <a:ext uri="{FF2B5EF4-FFF2-40B4-BE49-F238E27FC236}">
                <a16:creationId xmlns:a16="http://schemas.microsoft.com/office/drawing/2014/main" id="{44D43F99-5623-49C3-93EC-E67AE1063971}"/>
              </a:ext>
            </a:extLst>
          </p:cNvPr>
          <p:cNvSpPr/>
          <p:nvPr/>
        </p:nvSpPr>
        <p:spPr bwMode="auto">
          <a:xfrm rot="5400000">
            <a:off x="3847228" y="1445096"/>
            <a:ext cx="1306800" cy="1679758"/>
          </a:xfrm>
          <a:prstGeom prst="homePlate">
            <a:avLst>
              <a:gd name="adj" fmla="val 15359"/>
            </a:avLst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129" name="Arrow: Pentagon 128">
            <a:extLst>
              <a:ext uri="{FF2B5EF4-FFF2-40B4-BE49-F238E27FC236}">
                <a16:creationId xmlns:a16="http://schemas.microsoft.com/office/drawing/2014/main" id="{8BE1919E-F6F6-48E3-9BC5-6BC2AF83ACAB}"/>
              </a:ext>
            </a:extLst>
          </p:cNvPr>
          <p:cNvSpPr/>
          <p:nvPr/>
        </p:nvSpPr>
        <p:spPr bwMode="auto">
          <a:xfrm rot="5400000">
            <a:off x="2167202" y="1445096"/>
            <a:ext cx="1306800" cy="1679758"/>
          </a:xfrm>
          <a:prstGeom prst="homePlate">
            <a:avLst>
              <a:gd name="adj" fmla="val 15359"/>
            </a:avLst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75D2C3-BCFD-43EF-B3A8-012B226C3D03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932052" y="74631"/>
            <a:ext cx="3033865" cy="76087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E7AAE13-1303-4715-9F54-4378E63B4BE1}"/>
              </a:ext>
            </a:extLst>
          </p:cNvPr>
          <p:cNvSpPr/>
          <p:nvPr/>
        </p:nvSpPr>
        <p:spPr>
          <a:xfrm>
            <a:off x="363955" y="899673"/>
            <a:ext cx="116619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D4F6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We have built out ~100 design decisions that role up into 7 key improvement areas and themes to simplify and standardize Employee Central 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4D4F61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62" name="Flowchart: Data 61">
            <a:extLst>
              <a:ext uri="{FF2B5EF4-FFF2-40B4-BE49-F238E27FC236}">
                <a16:creationId xmlns:a16="http://schemas.microsoft.com/office/drawing/2014/main" id="{0D7F61F6-C420-442E-8721-5BAA804A5279}"/>
              </a:ext>
            </a:extLst>
          </p:cNvPr>
          <p:cNvSpPr/>
          <p:nvPr/>
        </p:nvSpPr>
        <p:spPr>
          <a:xfrm>
            <a:off x="9922040" y="352126"/>
            <a:ext cx="792000" cy="211755"/>
          </a:xfrm>
          <a:prstGeom prst="flowChartInputOutput">
            <a:avLst/>
          </a:prstGeom>
          <a:solidFill>
            <a:srgbClr val="00148C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7000" rIns="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yHR 2.0</a:t>
            </a:r>
          </a:p>
        </p:txBody>
      </p:sp>
      <p:sp>
        <p:nvSpPr>
          <p:cNvPr id="63" name="Flowchart: Data 62">
            <a:extLst>
              <a:ext uri="{FF2B5EF4-FFF2-40B4-BE49-F238E27FC236}">
                <a16:creationId xmlns:a16="http://schemas.microsoft.com/office/drawing/2014/main" id="{C9434A87-7CF3-469A-9A09-7B6F4E6BB9F2}"/>
              </a:ext>
            </a:extLst>
          </p:cNvPr>
          <p:cNvSpPr/>
          <p:nvPr/>
        </p:nvSpPr>
        <p:spPr>
          <a:xfrm>
            <a:off x="10620674" y="352125"/>
            <a:ext cx="792000" cy="211755"/>
          </a:xfrm>
          <a:prstGeom prst="flowChartInputOutpu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7000" rIns="0" bIns="27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WDD</a:t>
            </a:r>
          </a:p>
        </p:txBody>
      </p:sp>
      <p:sp>
        <p:nvSpPr>
          <p:cNvPr id="64" name="Flowchart: Data 63">
            <a:extLst>
              <a:ext uri="{FF2B5EF4-FFF2-40B4-BE49-F238E27FC236}">
                <a16:creationId xmlns:a16="http://schemas.microsoft.com/office/drawing/2014/main" id="{C526CA5D-1B77-416D-BA47-9425B22AC5C6}"/>
              </a:ext>
            </a:extLst>
          </p:cNvPr>
          <p:cNvSpPr/>
          <p:nvPr/>
        </p:nvSpPr>
        <p:spPr>
          <a:xfrm>
            <a:off x="11319307" y="352124"/>
            <a:ext cx="792000" cy="211755"/>
          </a:xfrm>
          <a:prstGeom prst="flowChartInputOutpu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7000" rIns="0" bIns="27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GWT</a:t>
            </a:r>
          </a:p>
        </p:txBody>
      </p:sp>
      <p:sp>
        <p:nvSpPr>
          <p:cNvPr id="65" name="Flowchart: Data 64">
            <a:extLst>
              <a:ext uri="{FF2B5EF4-FFF2-40B4-BE49-F238E27FC236}">
                <a16:creationId xmlns:a16="http://schemas.microsoft.com/office/drawing/2014/main" id="{16F00C70-BF3B-4A21-AD86-B635A5D9A54B}"/>
              </a:ext>
            </a:extLst>
          </p:cNvPr>
          <p:cNvSpPr/>
          <p:nvPr/>
        </p:nvSpPr>
        <p:spPr>
          <a:xfrm>
            <a:off x="9922040" y="90866"/>
            <a:ext cx="792000" cy="211755"/>
          </a:xfrm>
          <a:prstGeom prst="flowChartInputOutpu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7000" rIns="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Programme</a:t>
            </a:r>
          </a:p>
        </p:txBody>
      </p:sp>
    </p:spTree>
    <p:extLst>
      <p:ext uri="{BB962C8B-B14F-4D97-AF65-F5344CB8AC3E}">
        <p14:creationId xmlns:p14="http://schemas.microsoft.com/office/powerpoint/2010/main" val="93113159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GUID" val="f07f7a86-295b-49b1-a931-7d96539f835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3OKrlh09NdSNKWbeI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iTy6xiOIMOVtaI0U9I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.NVOOvRO6SBH3ZrUoDuQ"/>
</p:tagLst>
</file>

<file path=ppt/theme/theme1.xml><?xml version="1.0" encoding="utf-8"?>
<a:theme xmlns:a="http://schemas.openxmlformats.org/drawingml/2006/main" name="2_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US NG_2018 PPT_Energy Lines Template 16x9 [Read-Only]" id="{4657108C-CAD3-44AC-B13C-CD074A2E51E8}" vid="{35BB5C37-5BE8-43BF-9925-D45D04A5B4D7}"/>
    </a:ext>
  </a:extLst>
</a:theme>
</file>

<file path=ppt/theme/theme2.xml><?xml version="1.0" encoding="utf-8"?>
<a:theme xmlns:a="http://schemas.openxmlformats.org/drawingml/2006/main" name="2_Titles">
  <a:themeElements>
    <a:clrScheme name="ACN_Standart_2018">
      <a:dk1>
        <a:sysClr val="windowText" lastClr="000000"/>
      </a:dk1>
      <a:lt1>
        <a:sysClr val="window" lastClr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7E00FF"/>
      </a:folHlink>
    </a:clrScheme>
    <a:fontScheme name="Benutzerdefiniert 11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3.xml><?xml version="1.0" encoding="utf-8"?>
<a:theme xmlns:a="http://schemas.openxmlformats.org/drawingml/2006/main" name="3_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US NG_2018 PPT_Energy Lines Template 16x9 [Read-Only]" id="{4657108C-CAD3-44AC-B13C-CD074A2E51E8}" vid="{35BB5C37-5BE8-43BF-9925-D45D04A5B4D7}"/>
    </a:ext>
  </a:extLst>
</a:theme>
</file>

<file path=ppt/theme/theme4.xml><?xml version="1.0" encoding="utf-8"?>
<a:theme xmlns:a="http://schemas.openxmlformats.org/drawingml/2006/main" name="1_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solidFill>
          <a:srgbClr val="00148C"/>
        </a:solidFill>
        <a:ln w="9525" cap="flat" cmpd="sng" algn="ctr">
          <a:solidFill>
            <a:sysClr val="window" lastClr="FFFFFF">
              <a:lumMod val="50000"/>
            </a:sysClr>
          </a:solidFill>
          <a:prstDash val="sys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US NG_2018 PPT_Energy Lines Template 16x9 [Read-Only]" id="{4657108C-CAD3-44AC-B13C-CD074A2E51E8}" vid="{35BB5C37-5BE8-43BF-9925-D45D04A5B4D7}"/>
    </a:ext>
  </a:extLst>
</a:theme>
</file>

<file path=ppt/theme/theme5.xml><?xml version="1.0" encoding="utf-8"?>
<a:theme xmlns:a="http://schemas.openxmlformats.org/drawingml/2006/main" name="5_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75000"/>
          </a:schemeClr>
        </a:solidFill>
        <a:ln w="19050">
          <a:noFill/>
        </a:ln>
      </a:spPr>
      <a:bodyPr lIns="0" tIns="27000" rIns="0" bIns="27000" rtlCol="0" anchor="ctr"/>
      <a:lstStyle>
        <a:defPPr marL="0" marR="0" indent="0" algn="l" defTabSz="6858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800" b="0" i="0" u="none" strike="noStrike" kern="1200" cap="none" spc="0" normalizeH="0" baseline="0" noProof="0" dirty="0">
            <a:ln>
              <a:noFill/>
            </a:ln>
            <a:solidFill>
              <a:prstClr val="white"/>
            </a:solidFill>
            <a:effectLst/>
            <a:uLnTx/>
            <a:uFillTx/>
            <a:latin typeface="Arial" panose="020B0604020202020204" pitchFamily="34" charset="0"/>
            <a:ea typeface="ＭＳ Ｐゴシック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US NG_2018 PPT_Energy Lines Template 16x9 [Read-Only]" id="{4657108C-CAD3-44AC-B13C-CD074A2E51E8}" vid="{35BB5C37-5BE8-43BF-9925-D45D04A5B4D7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A05AE294EB6A4981B27F663A1F4F4E" ma:contentTypeVersion="13" ma:contentTypeDescription="Create a new document." ma:contentTypeScope="" ma:versionID="3f5f552a0fb3f3e120f9cdf5ffe46494">
  <xsd:schema xmlns:xsd="http://www.w3.org/2001/XMLSchema" xmlns:xs="http://www.w3.org/2001/XMLSchema" xmlns:p="http://schemas.microsoft.com/office/2006/metadata/properties" xmlns:ns3="f2599729-1a71-4228-8d47-3729b19a6054" xmlns:ns4="ccf61053-ec97-44cf-9312-2772bc8d0728" targetNamespace="http://schemas.microsoft.com/office/2006/metadata/properties" ma:root="true" ma:fieldsID="5a036e109b5dfbb6bfd0d65f02215074" ns3:_="" ns4:_="">
    <xsd:import namespace="f2599729-1a71-4228-8d47-3729b19a6054"/>
    <xsd:import namespace="ccf61053-ec97-44cf-9312-2772bc8d072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599729-1a71-4228-8d47-3729b19a605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f61053-ec97-44cf-9312-2772bc8d072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DD19B0C-3B44-4E0F-AD9D-4164B72414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599729-1a71-4228-8d47-3729b19a6054"/>
    <ds:schemaRef ds:uri="ccf61053-ec97-44cf-9312-2772bc8d072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139987-3D56-45DA-8AC2-B562F1A3CA9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D95A1E3-772F-4781-9627-E12A6AFF68E3}">
  <ds:schemaRefs>
    <ds:schemaRef ds:uri="f2599729-1a71-4228-8d47-3729b19a605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ccf61053-ec97-44cf-9312-2772bc8d0728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87</TotalTime>
  <Words>665</Words>
  <Application>Microsoft Office PowerPoint</Application>
  <PresentationFormat>Widescreen</PresentationFormat>
  <Paragraphs>8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Arial</vt:lpstr>
      <vt:lpstr>Arial Black</vt:lpstr>
      <vt:lpstr>Calibri</vt:lpstr>
      <vt:lpstr>Graphik</vt:lpstr>
      <vt:lpstr>Graphik Black</vt:lpstr>
      <vt:lpstr>Symbol</vt:lpstr>
      <vt:lpstr>2_US NG_2018 PPT__EnergyLines Template 16x9</vt:lpstr>
      <vt:lpstr>2_Titles</vt:lpstr>
      <vt:lpstr>3_US NG_2018 PPT__EnergyLines Template 16x9</vt:lpstr>
      <vt:lpstr>1_US NG_2018 PPT__EnergyLines Template 16x9</vt:lpstr>
      <vt:lpstr>5_US NG_2018 PPT__EnergyLines Template 16x9</vt:lpstr>
      <vt:lpstr>think-cell Folie</vt:lpstr>
      <vt:lpstr>think-cell Slide</vt:lpstr>
      <vt:lpstr>Key Employee Central Deci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yHR 2.0 DCB Playback</dc:title>
  <dc:creator>Mcleish, Duncan R.</dc:creator>
  <cp:lastModifiedBy>Ajwaliya, Nishit</cp:lastModifiedBy>
  <cp:revision>6</cp:revision>
  <dcterms:created xsi:type="dcterms:W3CDTF">2020-08-12T11:06:25Z</dcterms:created>
  <dcterms:modified xsi:type="dcterms:W3CDTF">2021-12-01T15:21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A05AE294EB6A4981B27F663A1F4F4E</vt:lpwstr>
  </property>
</Properties>
</file>